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75" r:id="rId4"/>
    <p:sldMasterId id="2147483914" r:id="rId5"/>
    <p:sldMasterId id="2147483926" r:id="rId6"/>
  </p:sldMasterIdLst>
  <p:notesMasterIdLst>
    <p:notesMasterId r:id="rId50"/>
  </p:notesMasterIdLst>
  <p:sldIdLst>
    <p:sldId id="2147374772" r:id="rId7"/>
    <p:sldId id="257" r:id="rId8"/>
    <p:sldId id="2147374823" r:id="rId9"/>
    <p:sldId id="2147374788" r:id="rId10"/>
    <p:sldId id="2147377485" r:id="rId11"/>
    <p:sldId id="2147377477" r:id="rId12"/>
    <p:sldId id="2147377487" r:id="rId13"/>
    <p:sldId id="2147471201" r:id="rId14"/>
    <p:sldId id="2147471213" r:id="rId15"/>
    <p:sldId id="2147471202" r:id="rId16"/>
    <p:sldId id="2147377481" r:id="rId17"/>
    <p:sldId id="2147374771" r:id="rId18"/>
    <p:sldId id="2147374761" r:id="rId19"/>
    <p:sldId id="2147471203" r:id="rId20"/>
    <p:sldId id="1056" r:id="rId21"/>
    <p:sldId id="2147374849" r:id="rId22"/>
    <p:sldId id="2147374874" r:id="rId23"/>
    <p:sldId id="2147374860" r:id="rId24"/>
    <p:sldId id="2147374870" r:id="rId25"/>
    <p:sldId id="2147374873" r:id="rId26"/>
    <p:sldId id="2147471204" r:id="rId27"/>
    <p:sldId id="2147374768" r:id="rId28"/>
    <p:sldId id="2147374747" r:id="rId29"/>
    <p:sldId id="2147471208" r:id="rId30"/>
    <p:sldId id="2147471211" r:id="rId31"/>
    <p:sldId id="2147471214" r:id="rId32"/>
    <p:sldId id="2147374766" r:id="rId33"/>
    <p:sldId id="2147374770" r:id="rId34"/>
    <p:sldId id="2147374767" r:id="rId35"/>
    <p:sldId id="2147471206" r:id="rId36"/>
    <p:sldId id="2147374738" r:id="rId37"/>
    <p:sldId id="2147374739" r:id="rId38"/>
    <p:sldId id="2147374749" r:id="rId39"/>
    <p:sldId id="2147471207" r:id="rId40"/>
    <p:sldId id="2147374732" r:id="rId41"/>
    <p:sldId id="2147374750" r:id="rId42"/>
    <p:sldId id="2147471212" r:id="rId43"/>
    <p:sldId id="2147471205" r:id="rId44"/>
    <p:sldId id="2147374735" r:id="rId45"/>
    <p:sldId id="2147374733" r:id="rId46"/>
    <p:sldId id="2147374734" r:id="rId47"/>
    <p:sldId id="2147374736" r:id="rId48"/>
    <p:sldId id="2147374716"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5E1D2E-2204-4A5D-B64E-4066E6766F7E}">
          <p14:sldIdLst>
            <p14:sldId id="2147374772"/>
            <p14:sldId id="257"/>
          </p14:sldIdLst>
        </p14:section>
        <p14:section name="Introduction to MoneG" id="{9088F432-1A05-4CE2-AB92-C93E11F3D48F}">
          <p14:sldIdLst>
            <p14:sldId id="2147374823"/>
            <p14:sldId id="2147374788"/>
            <p14:sldId id="2147377485"/>
            <p14:sldId id="2147377477"/>
            <p14:sldId id="2147377487"/>
            <p14:sldId id="2147471201"/>
            <p14:sldId id="2147471213"/>
          </p14:sldIdLst>
        </p14:section>
        <p14:section name="Project Timeline" id="{CE51084B-41B0-451F-88F1-0F5E5893C4D6}">
          <p14:sldIdLst>
            <p14:sldId id="2147471202"/>
            <p14:sldId id="2147377481"/>
            <p14:sldId id="2147374771"/>
            <p14:sldId id="2147374761"/>
          </p14:sldIdLst>
        </p14:section>
        <p14:section name="Organization Structure" id="{C398C443-F18A-41C4-A900-16841F2E678F}">
          <p14:sldIdLst>
            <p14:sldId id="2147471203"/>
            <p14:sldId id="1056"/>
            <p14:sldId id="2147374849"/>
            <p14:sldId id="2147374874"/>
            <p14:sldId id="2147374860"/>
            <p14:sldId id="2147374870"/>
            <p14:sldId id="2147374873"/>
          </p14:sldIdLst>
        </p14:section>
        <p14:section name="Access related to Mone-G" id="{2BCED30B-C948-43A4-BFD2-28A12B446401}">
          <p14:sldIdLst>
            <p14:sldId id="2147471204"/>
            <p14:sldId id="2147374768"/>
            <p14:sldId id="2147374747"/>
            <p14:sldId id="2147471208"/>
            <p14:sldId id="2147471211"/>
            <p14:sldId id="2147471214"/>
            <p14:sldId id="2147374766"/>
            <p14:sldId id="2147374770"/>
            <p14:sldId id="2147374767"/>
          </p14:sldIdLst>
        </p14:section>
        <p14:section name="Work Culture" id="{7155100B-9337-415B-A5C6-904F5AEB7049}">
          <p14:sldIdLst>
            <p14:sldId id="2147471206"/>
            <p14:sldId id="2147374738"/>
            <p14:sldId id="2147374739"/>
            <p14:sldId id="2147374749"/>
          </p14:sldIdLst>
        </p14:section>
        <p14:section name="Useful Links" id="{6941CB90-327D-460E-9B04-DD3C3B5D96E8}">
          <p14:sldIdLst>
            <p14:sldId id="2147471207"/>
            <p14:sldId id="2147374732"/>
            <p14:sldId id="2147374750"/>
            <p14:sldId id="2147471212"/>
          </p14:sldIdLst>
        </p14:section>
        <p14:section name="Compliance" id="{A237D4A0-0285-4874-A4D1-67ACBD5552EA}">
          <p14:sldIdLst>
            <p14:sldId id="2147471205"/>
            <p14:sldId id="2147374735"/>
            <p14:sldId id="2147374733"/>
            <p14:sldId id="2147374734"/>
            <p14:sldId id="2147374736"/>
            <p14:sldId id="214737471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54C3"/>
    <a:srgbClr val="B8A4DC"/>
    <a:srgbClr val="FFFFFF"/>
    <a:srgbClr val="4BACC6"/>
    <a:srgbClr val="DAEEF3"/>
    <a:srgbClr val="00929B"/>
    <a:srgbClr val="938D93"/>
    <a:srgbClr val="616800"/>
    <a:srgbClr val="00206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BB52BD-2EF2-43DF-82D0-E90785F1EFE2}" v="5" dt="2023-07-18T01:17:33.8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93979" autoAdjust="0"/>
  </p:normalViewPr>
  <p:slideViewPr>
    <p:cSldViewPr showGuides="1">
      <p:cViewPr>
        <p:scale>
          <a:sx n="58" d="100"/>
          <a:sy n="58" d="100"/>
        </p:scale>
        <p:origin x="1088" y="5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8/10/relationships/authors" Targe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diagrams/_rels/data2.xml.rels><?xml version="1.0" encoding="UTF-8" standalone="yes"?>
<Relationships xmlns="http://schemas.openxmlformats.org/package/2006/relationships"><Relationship Id="rId2"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 Id="rId1" Type="http://schemas.openxmlformats.org/officeDocument/2006/relationships/hyperlink" Target="mailto:no-reply@asana.com" TargetMode="External"/></Relationships>
</file>

<file path=ppt/diagrams/_rels/data3.xml.rels><?xml version="1.0" encoding="UTF-8" standalone="yes"?>
<Relationships xmlns="http://schemas.openxmlformats.org/package/2006/relationships"><Relationship Id="rId2" Type="http://schemas.openxmlformats.org/officeDocument/2006/relationships/hyperlink" Target="mailto:no-reply@asana.com" TargetMode="External"/><Relationship Id="rId1"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2.sv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1.png"/><Relationship Id="rId5"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 Id="rId4" Type="http://schemas.openxmlformats.org/officeDocument/2006/relationships/image" Target="../media/image50.svg"/></Relationships>
</file>

<file path=ppt/diagrams/_rels/drawing2.xml.rels><?xml version="1.0" encoding="UTF-8" standalone="yes"?>
<Relationships xmlns="http://schemas.openxmlformats.org/package/2006/relationships"><Relationship Id="rId2" Type="http://schemas.openxmlformats.org/officeDocument/2006/relationships/hyperlink" Target="mailto:no-reply@asana.com" TargetMode="External"/><Relationship Id="rId1"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s>
</file>

<file path=ppt/diagrams/_rels/drawing3.xml.rels><?xml version="1.0" encoding="UTF-8" standalone="yes"?>
<Relationships xmlns="http://schemas.openxmlformats.org/package/2006/relationships"><Relationship Id="rId2" Type="http://schemas.openxmlformats.org/officeDocument/2006/relationships/hyperlink" Target="mailto:no-reply@asana.com" TargetMode="External"/><Relationship Id="rId1"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2C4A4A-1D7C-4236-AEBE-4EE5C869545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239607F-BBAC-4849-914E-78BE91A11735}">
      <dgm:prSet/>
      <dgm:spPr/>
      <dgm:t>
        <a:bodyPr/>
        <a:lstStyle/>
        <a:p>
          <a:pPr>
            <a:lnSpc>
              <a:spcPct val="100000"/>
            </a:lnSpc>
          </a:pPr>
          <a:r>
            <a:rPr lang="en-IN" dirty="0"/>
            <a:t>We currently have multiple active distribution lists. Detailed list is in the next slide</a:t>
          </a:r>
          <a:endParaRPr lang="en-US" dirty="0"/>
        </a:p>
      </dgm:t>
    </dgm:pt>
    <dgm:pt modelId="{B6D1BBF3-4D14-4D1E-9D9C-175CD5684E1C}" type="parTrans" cxnId="{E4B79043-2F7E-4715-92F7-512FBA36815B}">
      <dgm:prSet/>
      <dgm:spPr/>
      <dgm:t>
        <a:bodyPr/>
        <a:lstStyle/>
        <a:p>
          <a:endParaRPr lang="en-US"/>
        </a:p>
      </dgm:t>
    </dgm:pt>
    <dgm:pt modelId="{6C44298D-106E-404D-AC1A-EE65BEA680E9}" type="sibTrans" cxnId="{E4B79043-2F7E-4715-92F7-512FBA36815B}">
      <dgm:prSet/>
      <dgm:spPr/>
      <dgm:t>
        <a:bodyPr/>
        <a:lstStyle/>
        <a:p>
          <a:endParaRPr lang="en-US"/>
        </a:p>
      </dgm:t>
    </dgm:pt>
    <dgm:pt modelId="{F18F9D4C-F620-4746-AA1A-FC150A8A269A}">
      <dgm:prSet/>
      <dgm:spPr/>
      <dgm:t>
        <a:bodyPr/>
        <a:lstStyle/>
        <a:p>
          <a:pPr>
            <a:lnSpc>
              <a:spcPct val="100000"/>
            </a:lnSpc>
          </a:pPr>
          <a:r>
            <a:rPr lang="en-IN" dirty="0"/>
            <a:t>If any member is to be added to the DL’s, kindly drop a mail to </a:t>
          </a:r>
          <a:r>
            <a:rPr lang="en-IN" u="sng" dirty="0">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a:t>
          </a:r>
          <a:r>
            <a:rPr lang="en-IN" u="sng" dirty="0" err="1">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oneG</a:t>
          </a:r>
          <a:r>
            <a:rPr lang="en-IN" u="sng" dirty="0">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 PMO Team</a:t>
          </a:r>
          <a:r>
            <a:rPr kumimoji="1" lang="en-IN" u="none" dirty="0"/>
            <a:t>.</a:t>
          </a:r>
          <a:endParaRPr lang="en-US" dirty="0"/>
        </a:p>
      </dgm:t>
    </dgm:pt>
    <dgm:pt modelId="{D3124085-AE3F-4188-A90C-D66D796A9619}" type="parTrans" cxnId="{7F0BDDDB-2F65-47BC-838D-A197DADABBEB}">
      <dgm:prSet/>
      <dgm:spPr/>
      <dgm:t>
        <a:bodyPr/>
        <a:lstStyle/>
        <a:p>
          <a:endParaRPr lang="en-US"/>
        </a:p>
      </dgm:t>
    </dgm:pt>
    <dgm:pt modelId="{76F89D65-EE2C-497D-A307-5CD98766E399}" type="sibTrans" cxnId="{7F0BDDDB-2F65-47BC-838D-A197DADABBEB}">
      <dgm:prSet/>
      <dgm:spPr/>
      <dgm:t>
        <a:bodyPr/>
        <a:lstStyle/>
        <a:p>
          <a:endParaRPr lang="en-US"/>
        </a:p>
      </dgm:t>
    </dgm:pt>
    <dgm:pt modelId="{A3F164E9-5617-44B8-845B-F3B44CBDEF1D}">
      <dgm:prSet/>
      <dgm:spPr/>
      <dgm:t>
        <a:bodyPr/>
        <a:lstStyle/>
        <a:p>
          <a:pPr>
            <a:lnSpc>
              <a:spcPct val="100000"/>
            </a:lnSpc>
          </a:pPr>
          <a:r>
            <a:rPr lang="en-IN"/>
            <a:t>In case of additional DL requirement, kindly add any of the above as admin.</a:t>
          </a:r>
          <a:endParaRPr lang="en-US"/>
        </a:p>
      </dgm:t>
    </dgm:pt>
    <dgm:pt modelId="{75269B06-0EB0-48C4-A4AD-09D1989AB6B7}" type="parTrans" cxnId="{85CD7300-4032-4867-BB25-2F6006F446D5}">
      <dgm:prSet/>
      <dgm:spPr/>
      <dgm:t>
        <a:bodyPr/>
        <a:lstStyle/>
        <a:p>
          <a:endParaRPr lang="en-US"/>
        </a:p>
      </dgm:t>
    </dgm:pt>
    <dgm:pt modelId="{843C1CDE-7069-4AF4-B451-ED7DA53600FC}" type="sibTrans" cxnId="{85CD7300-4032-4867-BB25-2F6006F446D5}">
      <dgm:prSet/>
      <dgm:spPr/>
      <dgm:t>
        <a:bodyPr/>
        <a:lstStyle/>
        <a:p>
          <a:endParaRPr lang="en-US"/>
        </a:p>
      </dgm:t>
    </dgm:pt>
    <dgm:pt modelId="{3BEE76B2-7850-492C-9668-4B24E867A9B4}" type="pres">
      <dgm:prSet presAssocID="{452C4A4A-1D7C-4236-AEBE-4EE5C8695455}" presName="root" presStyleCnt="0">
        <dgm:presLayoutVars>
          <dgm:dir/>
          <dgm:resizeHandles val="exact"/>
        </dgm:presLayoutVars>
      </dgm:prSet>
      <dgm:spPr/>
    </dgm:pt>
    <dgm:pt modelId="{9990C8CB-CC23-4002-9B0B-5BCF884A3589}" type="pres">
      <dgm:prSet presAssocID="{D239607F-BBAC-4849-914E-78BE91A11735}" presName="compNode" presStyleCnt="0"/>
      <dgm:spPr/>
    </dgm:pt>
    <dgm:pt modelId="{48013121-8D1F-4AC3-B9A3-7CDE76CE9D25}" type="pres">
      <dgm:prSet presAssocID="{D239607F-BBAC-4849-914E-78BE91A11735}" presName="bgRect" presStyleLbl="bgShp" presStyleIdx="0" presStyleCnt="3"/>
      <dgm:spPr/>
    </dgm:pt>
    <dgm:pt modelId="{3FFAABE9-8E11-432F-86F6-A60545A25CA8}" type="pres">
      <dgm:prSet presAssocID="{D239607F-BBAC-4849-914E-78BE91A11735}" presName="iconRect" presStyleLbl="node1" presStyleIdx="0" presStyleCnt="3"/>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Eraser"/>
        </a:ext>
      </dgm:extLst>
    </dgm:pt>
    <dgm:pt modelId="{37468208-5CC5-44F0-A8D2-4C265E7D5D11}" type="pres">
      <dgm:prSet presAssocID="{D239607F-BBAC-4849-914E-78BE91A11735}" presName="spaceRect" presStyleCnt="0"/>
      <dgm:spPr/>
    </dgm:pt>
    <dgm:pt modelId="{55871FD9-31FB-41DC-9CE3-060FB0D2C5D7}" type="pres">
      <dgm:prSet presAssocID="{D239607F-BBAC-4849-914E-78BE91A11735}" presName="parTx" presStyleLbl="revTx" presStyleIdx="0" presStyleCnt="3">
        <dgm:presLayoutVars>
          <dgm:chMax val="0"/>
          <dgm:chPref val="0"/>
        </dgm:presLayoutVars>
      </dgm:prSet>
      <dgm:spPr/>
    </dgm:pt>
    <dgm:pt modelId="{FCDBCCCC-C299-4E4D-9736-2B0654BD8CCE}" type="pres">
      <dgm:prSet presAssocID="{6C44298D-106E-404D-AC1A-EE65BEA680E9}" presName="sibTrans" presStyleCnt="0"/>
      <dgm:spPr/>
    </dgm:pt>
    <dgm:pt modelId="{40787BE7-4CAE-451E-AE44-6B39569C2855}" type="pres">
      <dgm:prSet presAssocID="{F18F9D4C-F620-4746-AA1A-FC150A8A269A}" presName="compNode" presStyleCnt="0"/>
      <dgm:spPr/>
    </dgm:pt>
    <dgm:pt modelId="{C06A7C0B-EA4C-44FC-AB89-D5E2AE264971}" type="pres">
      <dgm:prSet presAssocID="{F18F9D4C-F620-4746-AA1A-FC150A8A269A}" presName="bgRect" presStyleLbl="bgShp" presStyleIdx="1" presStyleCnt="3"/>
      <dgm:spPr/>
    </dgm:pt>
    <dgm:pt modelId="{85B573E8-9EA1-421F-BD59-4F81C8D4A996}" type="pres">
      <dgm:prSet presAssocID="{F18F9D4C-F620-4746-AA1A-FC150A8A269A}" presName="iconRect" presStyleLbl="node1" presStyleIdx="1" presStyleCnt="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Envelope"/>
        </a:ext>
      </dgm:extLst>
    </dgm:pt>
    <dgm:pt modelId="{089EF130-D441-4302-B0E9-D87D973EE145}" type="pres">
      <dgm:prSet presAssocID="{F18F9D4C-F620-4746-AA1A-FC150A8A269A}" presName="spaceRect" presStyleCnt="0"/>
      <dgm:spPr/>
    </dgm:pt>
    <dgm:pt modelId="{20D69D7E-7111-4B65-8068-B9C9DA5B4FCF}" type="pres">
      <dgm:prSet presAssocID="{F18F9D4C-F620-4746-AA1A-FC150A8A269A}" presName="parTx" presStyleLbl="revTx" presStyleIdx="1" presStyleCnt="3">
        <dgm:presLayoutVars>
          <dgm:chMax val="0"/>
          <dgm:chPref val="0"/>
        </dgm:presLayoutVars>
      </dgm:prSet>
      <dgm:spPr/>
    </dgm:pt>
    <dgm:pt modelId="{AF3171E3-E855-4D34-9E33-1620F80E8F09}" type="pres">
      <dgm:prSet presAssocID="{76F89D65-EE2C-497D-A307-5CD98766E399}" presName="sibTrans" presStyleCnt="0"/>
      <dgm:spPr/>
    </dgm:pt>
    <dgm:pt modelId="{42FF5320-93E5-49DD-B523-78151CE84EB6}" type="pres">
      <dgm:prSet presAssocID="{A3F164E9-5617-44B8-845B-F3B44CBDEF1D}" presName="compNode" presStyleCnt="0"/>
      <dgm:spPr/>
    </dgm:pt>
    <dgm:pt modelId="{52F7CEF4-653B-4248-83A8-216FE882639B}" type="pres">
      <dgm:prSet presAssocID="{A3F164E9-5617-44B8-845B-F3B44CBDEF1D}" presName="bgRect" presStyleLbl="bgShp" presStyleIdx="2" presStyleCnt="3"/>
      <dgm:spPr/>
    </dgm:pt>
    <dgm:pt modelId="{3C40A5FB-C0FD-4FFB-92DC-FCA3962B1CDA}" type="pres">
      <dgm:prSet presAssocID="{A3F164E9-5617-44B8-845B-F3B44CBDEF1D}" presName="iconRect" presStyleLbl="node1" presStyleIdx="2" presStyleCnt="3"/>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Office Worker"/>
        </a:ext>
      </dgm:extLst>
    </dgm:pt>
    <dgm:pt modelId="{012992E7-F2F8-4A61-95FC-B199CE0AD5AD}" type="pres">
      <dgm:prSet presAssocID="{A3F164E9-5617-44B8-845B-F3B44CBDEF1D}" presName="spaceRect" presStyleCnt="0"/>
      <dgm:spPr/>
    </dgm:pt>
    <dgm:pt modelId="{36F9F93B-B2EF-49C4-B786-DDABFC6EE699}" type="pres">
      <dgm:prSet presAssocID="{A3F164E9-5617-44B8-845B-F3B44CBDEF1D}" presName="parTx" presStyleLbl="revTx" presStyleIdx="2" presStyleCnt="3">
        <dgm:presLayoutVars>
          <dgm:chMax val="0"/>
          <dgm:chPref val="0"/>
        </dgm:presLayoutVars>
      </dgm:prSet>
      <dgm:spPr/>
    </dgm:pt>
  </dgm:ptLst>
  <dgm:cxnLst>
    <dgm:cxn modelId="{85CD7300-4032-4867-BB25-2F6006F446D5}" srcId="{452C4A4A-1D7C-4236-AEBE-4EE5C8695455}" destId="{A3F164E9-5617-44B8-845B-F3B44CBDEF1D}" srcOrd="2" destOrd="0" parTransId="{75269B06-0EB0-48C4-A4AD-09D1989AB6B7}" sibTransId="{843C1CDE-7069-4AF4-B451-ED7DA53600FC}"/>
    <dgm:cxn modelId="{D71E9A1F-4280-485D-858A-FE01E1132351}" type="presOf" srcId="{F18F9D4C-F620-4746-AA1A-FC150A8A269A}" destId="{20D69D7E-7111-4B65-8068-B9C9DA5B4FCF}" srcOrd="0" destOrd="0" presId="urn:microsoft.com/office/officeart/2018/2/layout/IconVerticalSolidList"/>
    <dgm:cxn modelId="{EF240238-FEB6-47B6-A598-67E1235BF658}" type="presOf" srcId="{A3F164E9-5617-44B8-845B-F3B44CBDEF1D}" destId="{36F9F93B-B2EF-49C4-B786-DDABFC6EE699}" srcOrd="0" destOrd="0" presId="urn:microsoft.com/office/officeart/2018/2/layout/IconVerticalSolidList"/>
    <dgm:cxn modelId="{E4B79043-2F7E-4715-92F7-512FBA36815B}" srcId="{452C4A4A-1D7C-4236-AEBE-4EE5C8695455}" destId="{D239607F-BBAC-4849-914E-78BE91A11735}" srcOrd="0" destOrd="0" parTransId="{B6D1BBF3-4D14-4D1E-9D9C-175CD5684E1C}" sibTransId="{6C44298D-106E-404D-AC1A-EE65BEA680E9}"/>
    <dgm:cxn modelId="{0F6D0A44-2F0D-454A-ACDF-70E05C3AC938}" type="presOf" srcId="{D239607F-BBAC-4849-914E-78BE91A11735}" destId="{55871FD9-31FB-41DC-9CE3-060FB0D2C5D7}" srcOrd="0" destOrd="0" presId="urn:microsoft.com/office/officeart/2018/2/layout/IconVerticalSolidList"/>
    <dgm:cxn modelId="{804E0F4A-7183-4A62-BA09-3872E8A08053}" type="presOf" srcId="{452C4A4A-1D7C-4236-AEBE-4EE5C8695455}" destId="{3BEE76B2-7850-492C-9668-4B24E867A9B4}" srcOrd="0" destOrd="0" presId="urn:microsoft.com/office/officeart/2018/2/layout/IconVerticalSolidList"/>
    <dgm:cxn modelId="{7F0BDDDB-2F65-47BC-838D-A197DADABBEB}" srcId="{452C4A4A-1D7C-4236-AEBE-4EE5C8695455}" destId="{F18F9D4C-F620-4746-AA1A-FC150A8A269A}" srcOrd="1" destOrd="0" parTransId="{D3124085-AE3F-4188-A90C-D66D796A9619}" sibTransId="{76F89D65-EE2C-497D-A307-5CD98766E399}"/>
    <dgm:cxn modelId="{DA22E779-143B-4CBD-B51E-3BADBCCFBB30}" type="presParOf" srcId="{3BEE76B2-7850-492C-9668-4B24E867A9B4}" destId="{9990C8CB-CC23-4002-9B0B-5BCF884A3589}" srcOrd="0" destOrd="0" presId="urn:microsoft.com/office/officeart/2018/2/layout/IconVerticalSolidList"/>
    <dgm:cxn modelId="{440A55AC-A9BE-4A57-8D5D-76301C926F11}" type="presParOf" srcId="{9990C8CB-CC23-4002-9B0B-5BCF884A3589}" destId="{48013121-8D1F-4AC3-B9A3-7CDE76CE9D25}" srcOrd="0" destOrd="0" presId="urn:microsoft.com/office/officeart/2018/2/layout/IconVerticalSolidList"/>
    <dgm:cxn modelId="{0D5AFFBF-0988-49F4-B6CE-4C5A7D1A16A8}" type="presParOf" srcId="{9990C8CB-CC23-4002-9B0B-5BCF884A3589}" destId="{3FFAABE9-8E11-432F-86F6-A60545A25CA8}" srcOrd="1" destOrd="0" presId="urn:microsoft.com/office/officeart/2018/2/layout/IconVerticalSolidList"/>
    <dgm:cxn modelId="{66C637BA-2107-488E-9F02-7F27D55A1B70}" type="presParOf" srcId="{9990C8CB-CC23-4002-9B0B-5BCF884A3589}" destId="{37468208-5CC5-44F0-A8D2-4C265E7D5D11}" srcOrd="2" destOrd="0" presId="urn:microsoft.com/office/officeart/2018/2/layout/IconVerticalSolidList"/>
    <dgm:cxn modelId="{84487BB7-3F47-4FE0-AFF2-B38276E9A9A6}" type="presParOf" srcId="{9990C8CB-CC23-4002-9B0B-5BCF884A3589}" destId="{55871FD9-31FB-41DC-9CE3-060FB0D2C5D7}" srcOrd="3" destOrd="0" presId="urn:microsoft.com/office/officeart/2018/2/layout/IconVerticalSolidList"/>
    <dgm:cxn modelId="{D98AED67-9784-41F8-9688-F0936A0C210F}" type="presParOf" srcId="{3BEE76B2-7850-492C-9668-4B24E867A9B4}" destId="{FCDBCCCC-C299-4E4D-9736-2B0654BD8CCE}" srcOrd="1" destOrd="0" presId="urn:microsoft.com/office/officeart/2018/2/layout/IconVerticalSolidList"/>
    <dgm:cxn modelId="{742DEB07-0981-4A28-A9E0-683F7A39802B}" type="presParOf" srcId="{3BEE76B2-7850-492C-9668-4B24E867A9B4}" destId="{40787BE7-4CAE-451E-AE44-6B39569C2855}" srcOrd="2" destOrd="0" presId="urn:microsoft.com/office/officeart/2018/2/layout/IconVerticalSolidList"/>
    <dgm:cxn modelId="{6E4432EF-57C8-4166-8678-F29283273580}" type="presParOf" srcId="{40787BE7-4CAE-451E-AE44-6B39569C2855}" destId="{C06A7C0B-EA4C-44FC-AB89-D5E2AE264971}" srcOrd="0" destOrd="0" presId="urn:microsoft.com/office/officeart/2018/2/layout/IconVerticalSolidList"/>
    <dgm:cxn modelId="{21A18F9C-E6DC-44DB-ACC2-2EF523AC06F1}" type="presParOf" srcId="{40787BE7-4CAE-451E-AE44-6B39569C2855}" destId="{85B573E8-9EA1-421F-BD59-4F81C8D4A996}" srcOrd="1" destOrd="0" presId="urn:microsoft.com/office/officeart/2018/2/layout/IconVerticalSolidList"/>
    <dgm:cxn modelId="{3698F90C-AA73-4FBD-80F7-C6B84AF41A4C}" type="presParOf" srcId="{40787BE7-4CAE-451E-AE44-6B39569C2855}" destId="{089EF130-D441-4302-B0E9-D87D973EE145}" srcOrd="2" destOrd="0" presId="urn:microsoft.com/office/officeart/2018/2/layout/IconVerticalSolidList"/>
    <dgm:cxn modelId="{D6F0262A-F3DD-4622-B14F-84DE6A9BDFD9}" type="presParOf" srcId="{40787BE7-4CAE-451E-AE44-6B39569C2855}" destId="{20D69D7E-7111-4B65-8068-B9C9DA5B4FCF}" srcOrd="3" destOrd="0" presId="urn:microsoft.com/office/officeart/2018/2/layout/IconVerticalSolidList"/>
    <dgm:cxn modelId="{3BD305AD-7B39-453D-862C-E6923177A006}" type="presParOf" srcId="{3BEE76B2-7850-492C-9668-4B24E867A9B4}" destId="{AF3171E3-E855-4D34-9E33-1620F80E8F09}" srcOrd="3" destOrd="0" presId="urn:microsoft.com/office/officeart/2018/2/layout/IconVerticalSolidList"/>
    <dgm:cxn modelId="{4EA8FD03-AB28-4664-966C-7ECAB895D6F8}" type="presParOf" srcId="{3BEE76B2-7850-492C-9668-4B24E867A9B4}" destId="{42FF5320-93E5-49DD-B523-78151CE84EB6}" srcOrd="4" destOrd="0" presId="urn:microsoft.com/office/officeart/2018/2/layout/IconVerticalSolidList"/>
    <dgm:cxn modelId="{63BEC547-CD3C-4B90-BEEF-A907C3B29BD7}" type="presParOf" srcId="{42FF5320-93E5-49DD-B523-78151CE84EB6}" destId="{52F7CEF4-653B-4248-83A8-216FE882639B}" srcOrd="0" destOrd="0" presId="urn:microsoft.com/office/officeart/2018/2/layout/IconVerticalSolidList"/>
    <dgm:cxn modelId="{F92EC7E6-6057-4EA2-917E-B7F5A3D3DC1F}" type="presParOf" srcId="{42FF5320-93E5-49DD-B523-78151CE84EB6}" destId="{3C40A5FB-C0FD-4FFB-92DC-FCA3962B1CDA}" srcOrd="1" destOrd="0" presId="urn:microsoft.com/office/officeart/2018/2/layout/IconVerticalSolidList"/>
    <dgm:cxn modelId="{1A992FE8-CACC-4A2F-8F7D-A398D0D58E3E}" type="presParOf" srcId="{42FF5320-93E5-49DD-B523-78151CE84EB6}" destId="{012992E7-F2F8-4A61-95FC-B199CE0AD5AD}" srcOrd="2" destOrd="0" presId="urn:microsoft.com/office/officeart/2018/2/layout/IconVerticalSolidList"/>
    <dgm:cxn modelId="{B536273C-BC4B-40AD-81CF-6E7541B7C750}" type="presParOf" srcId="{42FF5320-93E5-49DD-B523-78151CE84EB6}" destId="{36F9F93B-B2EF-49C4-B786-DDABFC6EE69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EFFB4F-6C83-4218-8D91-B96561F1C59C}" type="doc">
      <dgm:prSet loTypeId="urn:microsoft.com/office/officeart/2005/8/layout/list1" loCatId="list" qsTypeId="urn:microsoft.com/office/officeart/2005/8/quickstyle/simple1" qsCatId="simple" csTypeId="urn:microsoft.com/office/officeart/2005/8/colors/accent3_1" csCatId="accent3" phldr="1"/>
      <dgm:spPr/>
    </dgm:pt>
    <dgm:pt modelId="{0A72FAAE-AE44-4A5C-8CEF-B181BFF0F296}">
      <dgm:prSet phldrT="[Text]" custT="1"/>
      <dgm:spPr/>
      <dgm:t>
        <a:bodyPr spcFirstLastPara="0" vert="horz" wrap="square" lIns="256720" tIns="0" rIns="256720" bIns="0" numCol="1" spcCol="1270" anchor="ctr" anchorCtr="0"/>
        <a:lstStyle/>
        <a:p>
          <a:pPr marL="0" lvl="0" indent="0" algn="l" defTabSz="889000">
            <a:lnSpc>
              <a:spcPct val="90000"/>
            </a:lnSpc>
            <a:spcBef>
              <a:spcPct val="0"/>
            </a:spcBef>
            <a:spcAft>
              <a:spcPct val="35000"/>
            </a:spcAft>
            <a:buNone/>
          </a:pPr>
          <a:r>
            <a:rPr lang="en-IN" sz="2000" b="1" kern="1200">
              <a:latin typeface="Arial" panose="020B0604020202020204"/>
              <a:ea typeface="+mn-ea"/>
              <a:cs typeface="+mn-cs"/>
            </a:rPr>
            <a:t>Asana</a:t>
          </a:r>
          <a:endParaRPr lang="en-IN" sz="2000" b="1" kern="1200" dirty="0">
            <a:latin typeface="Arial" panose="020B0604020202020204"/>
            <a:ea typeface="+mn-ea"/>
            <a:cs typeface="+mn-cs"/>
          </a:endParaRPr>
        </a:p>
      </dgm:t>
    </dgm:pt>
    <dgm:pt modelId="{B992345F-1DDC-4DE6-BEA9-7336E54A69CF}" type="parTrans" cxnId="{8D9A8C06-E4DC-4628-A8A2-60790CD781B3}">
      <dgm:prSet/>
      <dgm:spPr/>
      <dgm:t>
        <a:bodyPr/>
        <a:lstStyle/>
        <a:p>
          <a:endParaRPr lang="en-IN"/>
        </a:p>
      </dgm:t>
    </dgm:pt>
    <dgm:pt modelId="{0943808F-714C-4CA3-A3A0-EAF6F41C3BE4}" type="sibTrans" cxnId="{8D9A8C06-E4DC-4628-A8A2-60790CD781B3}">
      <dgm:prSet/>
      <dgm:spPr/>
      <dgm:t>
        <a:bodyPr/>
        <a:lstStyle/>
        <a:p>
          <a:endParaRPr lang="en-IN"/>
        </a:p>
      </dgm:t>
    </dgm:pt>
    <dgm:pt modelId="{A7C3412E-C926-4E4B-B663-E5AE8B04DD14}">
      <dgm:prSet custT="1"/>
      <dgm:spPr/>
      <dgm:t>
        <a:bodyPr/>
        <a:lstStyle/>
        <a:p>
          <a:endParaRPr lang="en-IN" sz="1600" kern="1200" dirty="0">
            <a:latin typeface="+mn-lt"/>
          </a:endParaRPr>
        </a:p>
      </dgm:t>
    </dgm:pt>
    <dgm:pt modelId="{1B3F6C50-1F76-4061-8ACD-C21C5561E250}" type="parTrans" cxnId="{A75F0A9C-2C4F-4E55-BCD6-AA22F165A476}">
      <dgm:prSet/>
      <dgm:spPr/>
      <dgm:t>
        <a:bodyPr/>
        <a:lstStyle/>
        <a:p>
          <a:endParaRPr lang="en-IN"/>
        </a:p>
      </dgm:t>
    </dgm:pt>
    <dgm:pt modelId="{47C9638A-5F53-4ECA-8204-B4A81FDFD2E0}" type="sibTrans" cxnId="{A75F0A9C-2C4F-4E55-BCD6-AA22F165A476}">
      <dgm:prSet/>
      <dgm:spPr/>
      <dgm:t>
        <a:bodyPr/>
        <a:lstStyle/>
        <a:p>
          <a:endParaRPr lang="en-IN"/>
        </a:p>
      </dgm:t>
    </dgm:pt>
    <dgm:pt modelId="{3F88C0BE-96FD-4159-871C-E1805B5054EB}">
      <dgm:prSet/>
      <dgm:spPr/>
      <dgm:t>
        <a:bodyPr/>
        <a:lstStyle/>
        <a:p>
          <a:pPr marL="0" indent="0">
            <a:buFont typeface="Arial" panose="020B0604020202020204" pitchFamily="34" charset="0"/>
            <a:buChar char="•"/>
          </a:pPr>
          <a:r>
            <a:rPr lang="en-US" sz="1400" kern="1200" dirty="0"/>
            <a:t>Accept the invitation using the link in the mail ​</a:t>
          </a:r>
        </a:p>
      </dgm:t>
    </dgm:pt>
    <dgm:pt modelId="{D25EB91F-BB69-448E-B556-B99E969B87BA}" type="parTrans" cxnId="{05792ACD-F60E-499E-AB25-6AD0D1EA1ED6}">
      <dgm:prSet/>
      <dgm:spPr/>
      <dgm:t>
        <a:bodyPr/>
        <a:lstStyle/>
        <a:p>
          <a:endParaRPr lang="en-IN"/>
        </a:p>
      </dgm:t>
    </dgm:pt>
    <dgm:pt modelId="{7AD7E61A-8250-416A-A997-581F6A9E40B3}" type="sibTrans" cxnId="{05792ACD-F60E-499E-AB25-6AD0D1EA1ED6}">
      <dgm:prSet/>
      <dgm:spPr/>
      <dgm:t>
        <a:bodyPr/>
        <a:lstStyle/>
        <a:p>
          <a:endParaRPr lang="en-IN"/>
        </a:p>
      </dgm:t>
    </dgm:pt>
    <dgm:pt modelId="{938A9368-67A8-46D9-9562-0BD2BEEEF73D}">
      <dgm:prSet/>
      <dgm:spPr/>
      <dgm:t>
        <a:bodyPr/>
        <a:lstStyle/>
        <a:p>
          <a:pPr marL="0" indent="0">
            <a:buFont typeface="Arial" panose="020B0604020202020204" pitchFamily="34" charset="0"/>
            <a:buChar char="•"/>
          </a:pPr>
          <a:r>
            <a:rPr lang="en-US" sz="1400" kern="1200" dirty="0"/>
            <a:t>Go to “Home” and validate you have been assigned to a project</a:t>
          </a:r>
        </a:p>
      </dgm:t>
    </dgm:pt>
    <dgm:pt modelId="{BB1D15CA-48AB-43F7-9492-56795C17E678}" type="parTrans" cxnId="{C18203A9-0E06-4809-B761-0C22E16B8FAE}">
      <dgm:prSet/>
      <dgm:spPr/>
      <dgm:t>
        <a:bodyPr/>
        <a:lstStyle/>
        <a:p>
          <a:endParaRPr lang="en-IN"/>
        </a:p>
      </dgm:t>
    </dgm:pt>
    <dgm:pt modelId="{E1B5C21D-670D-40E4-8F86-65533C039A1C}" type="sibTrans" cxnId="{C18203A9-0E06-4809-B761-0C22E16B8FAE}">
      <dgm:prSet/>
      <dgm:spPr/>
      <dgm:t>
        <a:bodyPr/>
        <a:lstStyle/>
        <a:p>
          <a:endParaRPr lang="en-IN"/>
        </a:p>
      </dgm:t>
    </dgm:pt>
    <dgm:pt modelId="{7A195917-78A2-4877-B4E2-8D586A9F1C0A}">
      <dgm:prSet/>
      <dgm:spPr/>
      <dgm:t>
        <a:bodyPr/>
        <a:lstStyle/>
        <a:p>
          <a:pPr marL="0" indent="0">
            <a:buFont typeface="Arial" panose="020B0604020202020204" pitchFamily="34" charset="0"/>
            <a:buChar char="•"/>
          </a:pPr>
          <a:r>
            <a:rPr lang="en-US" sz="1400" kern="1200" dirty="0"/>
            <a:t>Complete the two - factor authentication.</a:t>
          </a:r>
        </a:p>
      </dgm:t>
    </dgm:pt>
    <dgm:pt modelId="{D2DC5D15-0903-483B-80D8-A960B1FD8A9F}" type="parTrans" cxnId="{FFF1473B-4D70-4C99-9FD7-0E3872B50CCC}">
      <dgm:prSet/>
      <dgm:spPr/>
      <dgm:t>
        <a:bodyPr/>
        <a:lstStyle/>
        <a:p>
          <a:endParaRPr lang="en-IN"/>
        </a:p>
      </dgm:t>
    </dgm:pt>
    <dgm:pt modelId="{115BCC16-9014-4216-914A-3AD5B53B05CA}" type="sibTrans" cxnId="{FFF1473B-4D70-4C99-9FD7-0E3872B50CCC}">
      <dgm:prSet/>
      <dgm:spPr/>
      <dgm:t>
        <a:bodyPr/>
        <a:lstStyle/>
        <a:p>
          <a:endParaRPr lang="en-IN"/>
        </a:p>
      </dgm:t>
    </dgm:pt>
    <dgm:pt modelId="{8A33AA55-161C-48B1-B09C-44138DFE21E5}">
      <dgm:prSet/>
      <dgm:spPr/>
      <dgm:t>
        <a:bodyPr/>
        <a:lstStyle/>
        <a:p>
          <a:pPr marL="0" indent="0">
            <a:buFont typeface="Arial" panose="020B0604020202020204" pitchFamily="34" charset="0"/>
            <a:buChar char="•"/>
          </a:pPr>
          <a:r>
            <a:rPr lang="en-US" sz="1400" b="0" i="0" kern="1200" dirty="0">
              <a:effectLst/>
            </a:rPr>
            <a:t>Confirm your access to Global PMO.</a:t>
          </a:r>
        </a:p>
      </dgm:t>
    </dgm:pt>
    <dgm:pt modelId="{3B490DED-0107-4EF2-952B-08E3D8C74696}" type="parTrans" cxnId="{18E5D2CA-B15D-44EB-A381-B539BEA9FA81}">
      <dgm:prSet/>
      <dgm:spPr/>
      <dgm:t>
        <a:bodyPr/>
        <a:lstStyle/>
        <a:p>
          <a:endParaRPr lang="en-IN"/>
        </a:p>
      </dgm:t>
    </dgm:pt>
    <dgm:pt modelId="{FED1703F-D652-4D91-9A48-C60517E530A4}" type="sibTrans" cxnId="{18E5D2CA-B15D-44EB-A381-B539BEA9FA81}">
      <dgm:prSet/>
      <dgm:spPr/>
      <dgm:t>
        <a:bodyPr/>
        <a:lstStyle/>
        <a:p>
          <a:endParaRPr lang="en-IN"/>
        </a:p>
      </dgm:t>
    </dgm:pt>
    <dgm:pt modelId="{50BCF9A8-89FC-4EE1-9F43-8284DCFA9365}">
      <dgm:prSet custT="1"/>
      <dgm:spPr/>
      <dgm:t>
        <a:bodyPr/>
        <a:lstStyle/>
        <a:p>
          <a:pPr marL="0" lvl="0" indent="0" algn="l" defTabSz="889000">
            <a:lnSpc>
              <a:spcPct val="90000"/>
            </a:lnSpc>
            <a:spcBef>
              <a:spcPct val="0"/>
            </a:spcBef>
            <a:spcAft>
              <a:spcPct val="35000"/>
            </a:spcAft>
            <a:buNone/>
          </a:pPr>
          <a:r>
            <a:rPr lang="en-IN" sz="2000" b="1" kern="1200">
              <a:latin typeface="Arial" panose="020B0604020202020204"/>
              <a:ea typeface="+mn-ea"/>
              <a:cs typeface="+mn-cs"/>
            </a:rPr>
            <a:t>Sharepoint – ConfExt_Mone_G</a:t>
          </a:r>
          <a:endParaRPr lang="en-IN" sz="2000" b="1" kern="1200" dirty="0">
            <a:latin typeface="Arial" panose="020B0604020202020204"/>
            <a:ea typeface="+mn-ea"/>
            <a:cs typeface="+mn-cs"/>
          </a:endParaRPr>
        </a:p>
      </dgm:t>
    </dgm:pt>
    <dgm:pt modelId="{0ADC6A4F-82FE-4766-B502-FDC79F0EE30B}" type="parTrans" cxnId="{024E2EB4-4C31-4FA0-A745-ABE67725330D}">
      <dgm:prSet/>
      <dgm:spPr/>
      <dgm:t>
        <a:bodyPr/>
        <a:lstStyle/>
        <a:p>
          <a:endParaRPr lang="en-IN"/>
        </a:p>
      </dgm:t>
    </dgm:pt>
    <dgm:pt modelId="{616828F8-1445-48DF-B94E-EB8A2813D7D0}" type="sibTrans" cxnId="{024E2EB4-4C31-4FA0-A745-ABE67725330D}">
      <dgm:prSet/>
      <dgm:spPr/>
      <dgm:t>
        <a:bodyPr/>
        <a:lstStyle/>
        <a:p>
          <a:endParaRPr lang="en-IN"/>
        </a:p>
      </dgm:t>
    </dgm:pt>
    <dgm:pt modelId="{12AFC0D7-0B94-4C6C-9957-0EF072E69D60}">
      <dgm:prSet/>
      <dgm:spPr/>
      <dgm:t>
        <a:bodyPr/>
        <a:lstStyle/>
        <a:p>
          <a:pPr marL="0" indent="0">
            <a:buFont typeface="Arial" panose="020B0604020202020204" pitchFamily="34" charset="0"/>
            <a:buChar char="•"/>
          </a:pPr>
          <a:r>
            <a:rPr lang="en-US" sz="1400" kern="1200" dirty="0"/>
            <a:t>You will receive an email from </a:t>
          </a:r>
          <a:r>
            <a:rPr lang="en-US" sz="1400" u="sng" kern="1200" dirty="0">
              <a:hlinkClick xmlns:r="http://schemas.openxmlformats.org/officeDocument/2006/relationships" r:id="rId1"/>
            </a:rPr>
            <a:t>no-reply@asana.com</a:t>
          </a:r>
          <a:r>
            <a:rPr lang="en-US" sz="1400" kern="1200" dirty="0"/>
            <a:t> , check your spam folder ​</a:t>
          </a:r>
        </a:p>
      </dgm:t>
    </dgm:pt>
    <dgm:pt modelId="{3B00F33C-9CE1-43F4-9147-779070496B9D}" type="parTrans" cxnId="{4F445FE1-D951-4AFF-9C7E-85CAF8144316}">
      <dgm:prSet/>
      <dgm:spPr/>
      <dgm:t>
        <a:bodyPr/>
        <a:lstStyle/>
        <a:p>
          <a:endParaRPr lang="en-IN"/>
        </a:p>
      </dgm:t>
    </dgm:pt>
    <dgm:pt modelId="{6069A496-BE10-47B5-B11A-0D2C442C7CD2}" type="sibTrans" cxnId="{4F445FE1-D951-4AFF-9C7E-85CAF8144316}">
      <dgm:prSet/>
      <dgm:spPr/>
      <dgm:t>
        <a:bodyPr/>
        <a:lstStyle/>
        <a:p>
          <a:endParaRPr lang="en-IN"/>
        </a:p>
      </dgm:t>
    </dgm:pt>
    <dgm:pt modelId="{9BA52C8D-1391-4292-9C17-3B29C387D225}">
      <dgm:prSet custT="1"/>
      <dgm:spPr/>
      <dgm:t>
        <a:bodyPr/>
        <a:lstStyle/>
        <a:p>
          <a:r>
            <a:rPr lang="en-US" sz="1400">
              <a:latin typeface="+mn-lt"/>
            </a:rPr>
            <a:t>Global PMO will request your access.</a:t>
          </a:r>
          <a:endParaRPr lang="en-US" sz="1400" dirty="0">
            <a:latin typeface="+mn-lt"/>
          </a:endParaRPr>
        </a:p>
      </dgm:t>
    </dgm:pt>
    <dgm:pt modelId="{5A1545E8-51D3-40C4-8A1A-E0E8CFEE305E}" type="parTrans" cxnId="{01D6186F-C77A-4226-8522-5D218078870D}">
      <dgm:prSet/>
      <dgm:spPr/>
      <dgm:t>
        <a:bodyPr/>
        <a:lstStyle/>
        <a:p>
          <a:endParaRPr lang="en-US"/>
        </a:p>
      </dgm:t>
    </dgm:pt>
    <dgm:pt modelId="{B5675E0B-9547-4B21-BA81-5D87E27BA1A1}" type="sibTrans" cxnId="{01D6186F-C77A-4226-8522-5D218078870D}">
      <dgm:prSet/>
      <dgm:spPr/>
      <dgm:t>
        <a:bodyPr/>
        <a:lstStyle/>
        <a:p>
          <a:endParaRPr lang="en-US"/>
        </a:p>
      </dgm:t>
    </dgm:pt>
    <dgm:pt modelId="{CAC01D83-6F9B-4081-9D74-BC3F1E67F4FC}">
      <dgm:prSet custT="1"/>
      <dgm:spPr/>
      <dgm:t>
        <a:bodyPr/>
        <a:lstStyle/>
        <a:p>
          <a:r>
            <a:rPr lang="en-US" sz="1400">
              <a:latin typeface="+mn-lt"/>
            </a:rPr>
            <a:t>You will receive an email from </a:t>
          </a:r>
          <a:r>
            <a:rPr lang="en-US" sz="1400" u="sng">
              <a:latin typeface="+mn-lt"/>
              <a:hlinkClick xmlns:r="http://schemas.openxmlformats.org/officeDocument/2006/relationships" r:id="rId1"/>
            </a:rPr>
            <a:t>no-reply@sharepointonline.com</a:t>
          </a:r>
          <a:r>
            <a:rPr lang="en-US" sz="1400">
              <a:latin typeface="+mn-lt"/>
            </a:rPr>
            <a:t> , check your spam folder ​</a:t>
          </a:r>
          <a:endParaRPr lang="en-US" sz="1400" dirty="0">
            <a:latin typeface="+mn-lt"/>
          </a:endParaRPr>
        </a:p>
      </dgm:t>
    </dgm:pt>
    <dgm:pt modelId="{BB10CBFB-7F4F-43F8-A653-618DC3BF82E3}" type="parTrans" cxnId="{0D6385F5-715B-469F-867E-0D6D9F974977}">
      <dgm:prSet/>
      <dgm:spPr/>
      <dgm:t>
        <a:bodyPr/>
        <a:lstStyle/>
        <a:p>
          <a:endParaRPr lang="en-US"/>
        </a:p>
      </dgm:t>
    </dgm:pt>
    <dgm:pt modelId="{9EFE1A42-E55A-42A5-BB41-104DC9B48BF9}" type="sibTrans" cxnId="{0D6385F5-715B-469F-867E-0D6D9F974977}">
      <dgm:prSet/>
      <dgm:spPr/>
      <dgm:t>
        <a:bodyPr/>
        <a:lstStyle/>
        <a:p>
          <a:endParaRPr lang="en-US"/>
        </a:p>
      </dgm:t>
    </dgm:pt>
    <dgm:pt modelId="{AA56404B-D6CF-42B7-A125-8F144F02470D}">
      <dgm:prSet custT="1"/>
      <dgm:spPr/>
      <dgm:t>
        <a:bodyPr/>
        <a:lstStyle/>
        <a:p>
          <a:r>
            <a:rPr lang="en-US" sz="1400">
              <a:latin typeface="+mn-lt"/>
            </a:rPr>
            <a:t>Accept the invitation using the link in the mail ​</a:t>
          </a:r>
          <a:endParaRPr lang="en-US" sz="1400" dirty="0">
            <a:latin typeface="+mn-lt"/>
          </a:endParaRPr>
        </a:p>
      </dgm:t>
    </dgm:pt>
    <dgm:pt modelId="{10B6B629-4152-4E69-A526-2C7848E66A31}" type="parTrans" cxnId="{8CAC001C-7EEC-4F89-9986-4E3E390C1482}">
      <dgm:prSet/>
      <dgm:spPr/>
      <dgm:t>
        <a:bodyPr/>
        <a:lstStyle/>
        <a:p>
          <a:endParaRPr lang="en-US"/>
        </a:p>
      </dgm:t>
    </dgm:pt>
    <dgm:pt modelId="{D50BCB4F-8CF9-42C2-8578-A30E57C62527}" type="sibTrans" cxnId="{8CAC001C-7EEC-4F89-9986-4E3E390C1482}">
      <dgm:prSet/>
      <dgm:spPr/>
      <dgm:t>
        <a:bodyPr/>
        <a:lstStyle/>
        <a:p>
          <a:endParaRPr lang="en-US"/>
        </a:p>
      </dgm:t>
    </dgm:pt>
    <dgm:pt modelId="{19F12296-784B-4C10-A6CE-121A9F7348D5}">
      <dgm:prSet custT="1"/>
      <dgm:spPr/>
      <dgm:t>
        <a:bodyPr/>
        <a:lstStyle/>
        <a:p>
          <a:r>
            <a:rPr lang="en-US" sz="1400" dirty="0">
              <a:latin typeface="+mn-lt"/>
            </a:rPr>
            <a:t>Create account and complete the two - factor authentication.</a:t>
          </a:r>
        </a:p>
      </dgm:t>
    </dgm:pt>
    <dgm:pt modelId="{B122A410-64BB-4A2C-8A26-2A7DC516EDF1}" type="parTrans" cxnId="{2778C8E2-F501-4DAA-A952-84F167850F0E}">
      <dgm:prSet/>
      <dgm:spPr/>
      <dgm:t>
        <a:bodyPr/>
        <a:lstStyle/>
        <a:p>
          <a:endParaRPr lang="en-US"/>
        </a:p>
      </dgm:t>
    </dgm:pt>
    <dgm:pt modelId="{75DA540B-DD64-40DC-9C9B-A1F6D4496B63}" type="sibTrans" cxnId="{2778C8E2-F501-4DAA-A952-84F167850F0E}">
      <dgm:prSet/>
      <dgm:spPr/>
      <dgm:t>
        <a:bodyPr/>
        <a:lstStyle/>
        <a:p>
          <a:endParaRPr lang="en-US"/>
        </a:p>
      </dgm:t>
    </dgm:pt>
    <dgm:pt modelId="{CA81D4A3-DF69-4455-B47D-7B7158B1E892}">
      <dgm:prSet custT="1"/>
      <dgm:spPr/>
      <dgm:t>
        <a:bodyPr/>
        <a:lstStyle/>
        <a:p>
          <a:r>
            <a:rPr lang="en-US" sz="1400" b="0" i="0">
              <a:effectLst/>
              <a:latin typeface="+mn-lt"/>
            </a:rPr>
            <a:t>Confirm your access to Global PMO.</a:t>
          </a:r>
          <a:endParaRPr lang="en-US" sz="1400" b="0" i="0" dirty="0">
            <a:effectLst/>
            <a:latin typeface="+mn-lt"/>
          </a:endParaRPr>
        </a:p>
      </dgm:t>
    </dgm:pt>
    <dgm:pt modelId="{F49564B2-1F0F-469C-A4BD-178A72DF557B}" type="parTrans" cxnId="{A95F19DA-33D4-4FE4-AFF4-D6CDB0B5E878}">
      <dgm:prSet/>
      <dgm:spPr/>
      <dgm:t>
        <a:bodyPr/>
        <a:lstStyle/>
        <a:p>
          <a:endParaRPr lang="en-US"/>
        </a:p>
      </dgm:t>
    </dgm:pt>
    <dgm:pt modelId="{2EBC4E6E-EDA5-40FA-8295-20325471174B}" type="sibTrans" cxnId="{A95F19DA-33D4-4FE4-AFF4-D6CDB0B5E878}">
      <dgm:prSet/>
      <dgm:spPr/>
      <dgm:t>
        <a:bodyPr/>
        <a:lstStyle/>
        <a:p>
          <a:endParaRPr lang="en-US"/>
        </a:p>
      </dgm:t>
    </dgm:pt>
    <dgm:pt modelId="{85F3A163-FEAB-42BE-9E5E-DCE9A5B0A76C}">
      <dgm:prSet custT="1"/>
      <dgm:spPr/>
      <dgm:t>
        <a:bodyPr/>
        <a:lstStyle/>
        <a:p>
          <a:pPr marL="0" indent="0">
            <a:buFont typeface="Arial" panose="020B0604020202020204" pitchFamily="34" charset="0"/>
            <a:buChar char="•"/>
          </a:pPr>
          <a:r>
            <a:rPr lang="en-US" sz="1400" kern="1200" dirty="0"/>
            <a:t>Global PMO will request your access.</a:t>
          </a:r>
          <a:endParaRPr lang="en-IN" sz="1400" kern="1200" dirty="0"/>
        </a:p>
      </dgm:t>
    </dgm:pt>
    <dgm:pt modelId="{4DDA6382-3CCB-4A55-AECC-31025DE49E37}" type="parTrans" cxnId="{135F5592-4EB6-43D2-81EF-2CDB0E18A1AE}">
      <dgm:prSet/>
      <dgm:spPr/>
      <dgm:t>
        <a:bodyPr/>
        <a:lstStyle/>
        <a:p>
          <a:endParaRPr lang="en-IN"/>
        </a:p>
      </dgm:t>
    </dgm:pt>
    <dgm:pt modelId="{61D92F20-FBA3-477D-A371-1356D737626A}" type="sibTrans" cxnId="{135F5592-4EB6-43D2-81EF-2CDB0E18A1AE}">
      <dgm:prSet/>
      <dgm:spPr/>
      <dgm:t>
        <a:bodyPr/>
        <a:lstStyle/>
        <a:p>
          <a:endParaRPr lang="en-IN"/>
        </a:p>
      </dgm:t>
    </dgm:pt>
    <dgm:pt modelId="{5651F4E4-E79A-4310-9F9C-D3A7397DC073}">
      <dgm:prSet custT="1"/>
      <dgm:spPr/>
      <dgm:t>
        <a:bodyPr/>
        <a:lstStyle/>
        <a:p>
          <a:pPr marL="0" indent="0">
            <a:buFont typeface="Arial" panose="020B0604020202020204" pitchFamily="34" charset="0"/>
            <a:buChar char="•"/>
          </a:pPr>
          <a:endParaRPr lang="en-IN" sz="1400" kern="1200" dirty="0"/>
        </a:p>
      </dgm:t>
    </dgm:pt>
    <dgm:pt modelId="{8507CE91-F23A-4432-B421-CD99E186F301}" type="parTrans" cxnId="{CA11B915-4CA0-4967-A06D-3430273D52A2}">
      <dgm:prSet/>
      <dgm:spPr/>
      <dgm:t>
        <a:bodyPr/>
        <a:lstStyle/>
        <a:p>
          <a:endParaRPr lang="en-IN"/>
        </a:p>
      </dgm:t>
    </dgm:pt>
    <dgm:pt modelId="{E8CE8A5F-E670-49DD-A915-B3B8363970B7}" type="sibTrans" cxnId="{CA11B915-4CA0-4967-A06D-3430273D52A2}">
      <dgm:prSet/>
      <dgm:spPr/>
      <dgm:t>
        <a:bodyPr/>
        <a:lstStyle/>
        <a:p>
          <a:endParaRPr lang="en-IN"/>
        </a:p>
      </dgm:t>
    </dgm:pt>
    <dgm:pt modelId="{F2C671F6-33FD-4F71-B23D-B3A55B89E041}">
      <dgm:prSet custT="1"/>
      <dgm:spPr/>
      <dgm:t>
        <a:bodyPr/>
        <a:lstStyle/>
        <a:p>
          <a:pPr marL="0" indent="0">
            <a:buFont typeface="Arial" panose="020B0604020202020204" pitchFamily="34" charset="0"/>
            <a:buChar char="•"/>
          </a:pPr>
          <a:r>
            <a:rPr lang="en-US" sz="1400" kern="1200" dirty="0"/>
            <a:t>Notify the onboarding to </a:t>
          </a:r>
          <a:r>
            <a:rPr lang="en-IN" sz="1400" u="sng" kern="1200" dirty="0">
              <a:latin typeface="Arial" panose="020B0604020202020204"/>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DL JP MCG </a:t>
          </a:r>
          <a:r>
            <a:rPr lang="en-IN" sz="1400" u="sng" kern="1200" dirty="0" err="1">
              <a:latin typeface="Arial" panose="020B0604020202020204"/>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oneG</a:t>
          </a:r>
          <a:r>
            <a:rPr lang="en-IN" sz="1400" u="sng" kern="1200" dirty="0">
              <a:latin typeface="Arial" panose="020B0604020202020204"/>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 PMO Team</a:t>
          </a:r>
          <a:r>
            <a:rPr kumimoji="1" lang="en-IN" sz="1400" u="none" kern="1200" dirty="0"/>
            <a:t>.</a:t>
          </a:r>
          <a:endParaRPr lang="en-IN" sz="1400" kern="1200" dirty="0"/>
        </a:p>
      </dgm:t>
    </dgm:pt>
    <dgm:pt modelId="{F1074FEE-D054-475F-8F1A-96B7B3AF6F40}" type="parTrans" cxnId="{536A544B-86A7-4B22-8343-EA10B3216CA3}">
      <dgm:prSet/>
      <dgm:spPr/>
      <dgm:t>
        <a:bodyPr/>
        <a:lstStyle/>
        <a:p>
          <a:endParaRPr lang="en-IN"/>
        </a:p>
      </dgm:t>
    </dgm:pt>
    <dgm:pt modelId="{DD301955-EFA7-4F03-8266-B17B8E081182}" type="sibTrans" cxnId="{536A544B-86A7-4B22-8343-EA10B3216CA3}">
      <dgm:prSet/>
      <dgm:spPr/>
      <dgm:t>
        <a:bodyPr/>
        <a:lstStyle/>
        <a:p>
          <a:endParaRPr lang="en-IN"/>
        </a:p>
      </dgm:t>
    </dgm:pt>
    <dgm:pt modelId="{20990A26-4DBD-415B-B359-95CF180A793D}">
      <dgm:prSet custT="1"/>
      <dgm:spPr/>
      <dgm:t>
        <a:bodyPr/>
        <a:lstStyle/>
        <a:p>
          <a:r>
            <a:rPr lang="en-US" sz="1400" dirty="0">
              <a:latin typeface="+mn-lt"/>
            </a:rPr>
            <a:t>Notify the onboarding to </a:t>
          </a:r>
          <a:r>
            <a:rPr lang="en-IN" sz="1400" u="sng" dirty="0">
              <a:latin typeface="+mn-lt"/>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DL JP MCG </a:t>
          </a:r>
          <a:r>
            <a:rPr lang="en-IN" sz="1400" u="sng" dirty="0" err="1">
              <a:latin typeface="+mn-lt"/>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oneG</a:t>
          </a:r>
          <a:r>
            <a:rPr lang="en-IN" sz="1400" u="sng" dirty="0">
              <a:latin typeface="+mn-lt"/>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 PMO Team</a:t>
          </a:r>
          <a:r>
            <a:rPr kumimoji="1" lang="en-IN" sz="1400" u="none" dirty="0">
              <a:latin typeface="+mn-lt"/>
            </a:rPr>
            <a:t>.</a:t>
          </a:r>
          <a:endParaRPr lang="en-US" sz="1400" dirty="0">
            <a:latin typeface="+mn-lt"/>
          </a:endParaRPr>
        </a:p>
      </dgm:t>
    </dgm:pt>
    <dgm:pt modelId="{BA0B32C9-425F-4410-8E85-DDCAA212A0AE}" type="sibTrans" cxnId="{3096CCA9-35F2-4AFA-8AB5-FD65E6F571FD}">
      <dgm:prSet/>
      <dgm:spPr/>
      <dgm:t>
        <a:bodyPr/>
        <a:lstStyle/>
        <a:p>
          <a:endParaRPr lang="en-US"/>
        </a:p>
      </dgm:t>
    </dgm:pt>
    <dgm:pt modelId="{A10C4F4E-E310-422D-9B17-502459791956}" type="parTrans" cxnId="{3096CCA9-35F2-4AFA-8AB5-FD65E6F571FD}">
      <dgm:prSet/>
      <dgm:spPr/>
      <dgm:t>
        <a:bodyPr/>
        <a:lstStyle/>
        <a:p>
          <a:endParaRPr lang="en-US"/>
        </a:p>
      </dgm:t>
    </dgm:pt>
    <dgm:pt modelId="{45ACDADE-06DC-4CCD-88DA-2D69609069DB}">
      <dgm:prSet custT="1"/>
      <dgm:spPr/>
      <dgm:t>
        <a:bodyPr/>
        <a:lstStyle/>
        <a:p>
          <a:pPr marL="0" indent="0">
            <a:buFont typeface="Arial" panose="020B0604020202020204" pitchFamily="34" charset="0"/>
            <a:buChar char="•"/>
          </a:pPr>
          <a:endParaRPr lang="en-IN" sz="1400" kern="1200" dirty="0"/>
        </a:p>
      </dgm:t>
    </dgm:pt>
    <dgm:pt modelId="{A4E9393C-7586-45B6-9850-ABEC225D29A4}" type="parTrans" cxnId="{53EB4E8B-D6BC-4D6E-877A-FB41B678BC95}">
      <dgm:prSet/>
      <dgm:spPr/>
      <dgm:t>
        <a:bodyPr/>
        <a:lstStyle/>
        <a:p>
          <a:endParaRPr lang="en-IN"/>
        </a:p>
      </dgm:t>
    </dgm:pt>
    <dgm:pt modelId="{7790F2FB-E543-4363-983B-8108CF7F0EE1}" type="sibTrans" cxnId="{53EB4E8B-D6BC-4D6E-877A-FB41B678BC95}">
      <dgm:prSet/>
      <dgm:spPr/>
      <dgm:t>
        <a:bodyPr/>
        <a:lstStyle/>
        <a:p>
          <a:endParaRPr lang="en-IN"/>
        </a:p>
      </dgm:t>
    </dgm:pt>
    <dgm:pt modelId="{A7F10198-F457-442A-BADE-CD3274EBDDFB}" type="pres">
      <dgm:prSet presAssocID="{45EFFB4F-6C83-4218-8D91-B96561F1C59C}" presName="linear" presStyleCnt="0">
        <dgm:presLayoutVars>
          <dgm:dir/>
          <dgm:animLvl val="lvl"/>
          <dgm:resizeHandles val="exact"/>
        </dgm:presLayoutVars>
      </dgm:prSet>
      <dgm:spPr/>
    </dgm:pt>
    <dgm:pt modelId="{F4C49D1E-713E-4CF3-AD1F-2541D6F3D134}" type="pres">
      <dgm:prSet presAssocID="{0A72FAAE-AE44-4A5C-8CEF-B181BFF0F296}" presName="parentLin" presStyleCnt="0"/>
      <dgm:spPr/>
    </dgm:pt>
    <dgm:pt modelId="{967085C1-04F1-4BCA-8421-55723A2332CF}" type="pres">
      <dgm:prSet presAssocID="{0A72FAAE-AE44-4A5C-8CEF-B181BFF0F296}" presName="parentLeftMargin" presStyleLbl="node1" presStyleIdx="0" presStyleCnt="2"/>
      <dgm:spPr/>
    </dgm:pt>
    <dgm:pt modelId="{56ECB841-E172-4C5A-AE6B-53BADC4C33B5}" type="pres">
      <dgm:prSet presAssocID="{0A72FAAE-AE44-4A5C-8CEF-B181BFF0F296}" presName="parentText" presStyleLbl="node1" presStyleIdx="0" presStyleCnt="2">
        <dgm:presLayoutVars>
          <dgm:chMax val="0"/>
          <dgm:bulletEnabled val="1"/>
        </dgm:presLayoutVars>
      </dgm:prSet>
      <dgm:spPr/>
    </dgm:pt>
    <dgm:pt modelId="{B5A2CD40-435C-4075-9FB7-4B9196EFF9C4}" type="pres">
      <dgm:prSet presAssocID="{0A72FAAE-AE44-4A5C-8CEF-B181BFF0F296}" presName="negativeSpace" presStyleCnt="0"/>
      <dgm:spPr/>
    </dgm:pt>
    <dgm:pt modelId="{1FE7CF19-3CED-4DBE-8786-06312DB5CECE}" type="pres">
      <dgm:prSet presAssocID="{0A72FAAE-AE44-4A5C-8CEF-B181BFF0F296}" presName="childText" presStyleLbl="conFgAcc1" presStyleIdx="0" presStyleCnt="2">
        <dgm:presLayoutVars>
          <dgm:bulletEnabled val="1"/>
        </dgm:presLayoutVars>
      </dgm:prSet>
      <dgm:spPr/>
    </dgm:pt>
    <dgm:pt modelId="{EA278826-FB78-4EDB-A0E4-76A0BF46BC7B}" type="pres">
      <dgm:prSet presAssocID="{0943808F-714C-4CA3-A3A0-EAF6F41C3BE4}" presName="spaceBetweenRectangles" presStyleCnt="0"/>
      <dgm:spPr/>
    </dgm:pt>
    <dgm:pt modelId="{67E381C9-AD76-4237-8504-BCA3F678B8B3}" type="pres">
      <dgm:prSet presAssocID="{50BCF9A8-89FC-4EE1-9F43-8284DCFA9365}" presName="parentLin" presStyleCnt="0"/>
      <dgm:spPr/>
    </dgm:pt>
    <dgm:pt modelId="{28943BFF-1EA2-4E0F-AEDD-E7909F0A3B50}" type="pres">
      <dgm:prSet presAssocID="{50BCF9A8-89FC-4EE1-9F43-8284DCFA9365}" presName="parentLeftMargin" presStyleLbl="node1" presStyleIdx="0" presStyleCnt="2"/>
      <dgm:spPr/>
    </dgm:pt>
    <dgm:pt modelId="{63BDEA1A-8875-4E2D-AFE7-698842385703}" type="pres">
      <dgm:prSet presAssocID="{50BCF9A8-89FC-4EE1-9F43-8284DCFA9365}" presName="parentText" presStyleLbl="node1" presStyleIdx="1" presStyleCnt="2">
        <dgm:presLayoutVars>
          <dgm:chMax val="0"/>
          <dgm:bulletEnabled val="1"/>
        </dgm:presLayoutVars>
      </dgm:prSet>
      <dgm:spPr/>
    </dgm:pt>
    <dgm:pt modelId="{CE642995-8E60-4B19-9B71-1B9CEDE6A11C}" type="pres">
      <dgm:prSet presAssocID="{50BCF9A8-89FC-4EE1-9F43-8284DCFA9365}" presName="negativeSpace" presStyleCnt="0"/>
      <dgm:spPr/>
    </dgm:pt>
    <dgm:pt modelId="{35FE4206-7B14-405E-9F88-9641C0DC186B}" type="pres">
      <dgm:prSet presAssocID="{50BCF9A8-89FC-4EE1-9F43-8284DCFA9365}" presName="childText" presStyleLbl="conFgAcc1" presStyleIdx="1" presStyleCnt="2" custScaleY="83853">
        <dgm:presLayoutVars>
          <dgm:bulletEnabled val="1"/>
        </dgm:presLayoutVars>
      </dgm:prSet>
      <dgm:spPr/>
    </dgm:pt>
  </dgm:ptLst>
  <dgm:cxnLst>
    <dgm:cxn modelId="{8D9A8C06-E4DC-4628-A8A2-60790CD781B3}" srcId="{45EFFB4F-6C83-4218-8D91-B96561F1C59C}" destId="{0A72FAAE-AE44-4A5C-8CEF-B181BFF0F296}" srcOrd="0" destOrd="0" parTransId="{B992345F-1DDC-4DE6-BEA9-7336E54A69CF}" sibTransId="{0943808F-714C-4CA3-A3A0-EAF6F41C3BE4}"/>
    <dgm:cxn modelId="{CA11B915-4CA0-4967-A06D-3430273D52A2}" srcId="{0A72FAAE-AE44-4A5C-8CEF-B181BFF0F296}" destId="{5651F4E4-E79A-4310-9F9C-D3A7397DC073}" srcOrd="1" destOrd="0" parTransId="{8507CE91-F23A-4432-B421-CD99E186F301}" sibTransId="{E8CE8A5F-E670-49DD-A915-B3B8363970B7}"/>
    <dgm:cxn modelId="{8CAC001C-7EEC-4F89-9986-4E3E390C1482}" srcId="{A7C3412E-C926-4E4B-B663-E5AE8B04DD14}" destId="{AA56404B-D6CF-42B7-A125-8F144F02470D}" srcOrd="3" destOrd="0" parTransId="{10B6B629-4152-4E69-A526-2C7848E66A31}" sibTransId="{D50BCB4F-8CF9-42C2-8578-A30E57C62527}"/>
    <dgm:cxn modelId="{2FA0C025-11E7-40D7-9B5A-961E5D523882}" type="presOf" srcId="{CAC01D83-6F9B-4081-9D74-BC3F1E67F4FC}" destId="{35FE4206-7B14-405E-9F88-9641C0DC186B}" srcOrd="0" destOrd="3" presId="urn:microsoft.com/office/officeart/2005/8/layout/list1"/>
    <dgm:cxn modelId="{BCC6DB35-AE1D-429E-A2AD-98198D5750DA}" type="presOf" srcId="{45ACDADE-06DC-4CCD-88DA-2D69609069DB}" destId="{1FE7CF19-3CED-4DBE-8786-06312DB5CECE}" srcOrd="0" destOrd="0" presId="urn:microsoft.com/office/officeart/2005/8/layout/list1"/>
    <dgm:cxn modelId="{8DB98336-35C9-46E3-8550-E4F078B1020B}" type="presOf" srcId="{9BA52C8D-1391-4292-9C17-3B29C387D225}" destId="{35FE4206-7B14-405E-9F88-9641C0DC186B}" srcOrd="0" destOrd="2" presId="urn:microsoft.com/office/officeart/2005/8/layout/list1"/>
    <dgm:cxn modelId="{FFF1473B-4D70-4C99-9FD7-0E3872B50CCC}" srcId="{85F3A163-FEAB-42BE-9E5E-DCE9A5B0A76C}" destId="{7A195917-78A2-4877-B4E2-8D586A9F1C0A}" srcOrd="3" destOrd="0" parTransId="{D2DC5D15-0903-483B-80D8-A960B1FD8A9F}" sibTransId="{115BCC16-9014-4216-914A-3AD5B53B05CA}"/>
    <dgm:cxn modelId="{DBC8EE62-96C2-4926-9305-F00F57C6A269}" type="presOf" srcId="{8A33AA55-161C-48B1-B09C-44138DFE21E5}" destId="{1FE7CF19-3CED-4DBE-8786-06312DB5CECE}" srcOrd="0" destOrd="8" presId="urn:microsoft.com/office/officeart/2005/8/layout/list1"/>
    <dgm:cxn modelId="{536A544B-86A7-4B22-8343-EA10B3216CA3}" srcId="{0A72FAAE-AE44-4A5C-8CEF-B181BFF0F296}" destId="{F2C671F6-33FD-4F71-B23D-B3A55B89E041}" srcOrd="2" destOrd="0" parTransId="{F1074FEE-D054-475F-8F1A-96B7B3AF6F40}" sibTransId="{DD301955-EFA7-4F03-8266-B17B8E081182}"/>
    <dgm:cxn modelId="{01D6186F-C77A-4226-8522-5D218078870D}" srcId="{A7C3412E-C926-4E4B-B663-E5AE8B04DD14}" destId="{9BA52C8D-1391-4292-9C17-3B29C387D225}" srcOrd="1" destOrd="0" parTransId="{5A1545E8-51D3-40C4-8A1A-E0E8CFEE305E}" sibTransId="{B5675E0B-9547-4B21-BA81-5D87E27BA1A1}"/>
    <dgm:cxn modelId="{E1E5B15A-705F-4CCB-A5DE-6F726802EF77}" type="presOf" srcId="{0A72FAAE-AE44-4A5C-8CEF-B181BFF0F296}" destId="{56ECB841-E172-4C5A-AE6B-53BADC4C33B5}" srcOrd="1" destOrd="0" presId="urn:microsoft.com/office/officeart/2005/8/layout/list1"/>
    <dgm:cxn modelId="{94E72D84-20B5-4E84-BB86-D22010B17921}" type="presOf" srcId="{F2C671F6-33FD-4F71-B23D-B3A55B89E041}" destId="{1FE7CF19-3CED-4DBE-8786-06312DB5CECE}" srcOrd="0" destOrd="2" presId="urn:microsoft.com/office/officeart/2005/8/layout/list1"/>
    <dgm:cxn modelId="{FCF9EC8A-E0C4-499B-98AD-06FD9562A254}" type="presOf" srcId="{19F12296-784B-4C10-A6CE-121A9F7348D5}" destId="{35FE4206-7B14-405E-9F88-9641C0DC186B}" srcOrd="0" destOrd="5" presId="urn:microsoft.com/office/officeart/2005/8/layout/list1"/>
    <dgm:cxn modelId="{53EB4E8B-D6BC-4D6E-877A-FB41B678BC95}" srcId="{0A72FAAE-AE44-4A5C-8CEF-B181BFF0F296}" destId="{45ACDADE-06DC-4CCD-88DA-2D69609069DB}" srcOrd="0" destOrd="0" parTransId="{A4E9393C-7586-45B6-9850-ABEC225D29A4}" sibTransId="{7790F2FB-E543-4363-983B-8108CF7F0EE1}"/>
    <dgm:cxn modelId="{D3E39C91-657A-4DB1-B75D-A29B5304F865}" type="presOf" srcId="{5651F4E4-E79A-4310-9F9C-D3A7397DC073}" destId="{1FE7CF19-3CED-4DBE-8786-06312DB5CECE}" srcOrd="0" destOrd="1" presId="urn:microsoft.com/office/officeart/2005/8/layout/list1"/>
    <dgm:cxn modelId="{135F5592-4EB6-43D2-81EF-2CDB0E18A1AE}" srcId="{0A72FAAE-AE44-4A5C-8CEF-B181BFF0F296}" destId="{85F3A163-FEAB-42BE-9E5E-DCE9A5B0A76C}" srcOrd="3" destOrd="0" parTransId="{4DDA6382-3CCB-4A55-AECC-31025DE49E37}" sibTransId="{61D92F20-FBA3-477D-A371-1356D737626A}"/>
    <dgm:cxn modelId="{726E2B95-E9EA-432C-B0FE-E79AECC39C5E}" type="presOf" srcId="{85F3A163-FEAB-42BE-9E5E-DCE9A5B0A76C}" destId="{1FE7CF19-3CED-4DBE-8786-06312DB5CECE}" srcOrd="0" destOrd="3" presId="urn:microsoft.com/office/officeart/2005/8/layout/list1"/>
    <dgm:cxn modelId="{5E0D6B97-95D5-4CA2-85E3-E8F58DE8A862}" type="presOf" srcId="{AA56404B-D6CF-42B7-A125-8F144F02470D}" destId="{35FE4206-7B14-405E-9F88-9641C0DC186B}" srcOrd="0" destOrd="4" presId="urn:microsoft.com/office/officeart/2005/8/layout/list1"/>
    <dgm:cxn modelId="{A75F0A9C-2C4F-4E55-BCD6-AA22F165A476}" srcId="{50BCF9A8-89FC-4EE1-9F43-8284DCFA9365}" destId="{A7C3412E-C926-4E4B-B663-E5AE8B04DD14}" srcOrd="0" destOrd="0" parTransId="{1B3F6C50-1F76-4061-8ACD-C21C5561E250}" sibTransId="{47C9638A-5F53-4ECA-8204-B4A81FDFD2E0}"/>
    <dgm:cxn modelId="{65240B9C-907B-4AAB-B853-1D702ECBB0B0}" type="presOf" srcId="{12AFC0D7-0B94-4C6C-9957-0EF072E69D60}" destId="{1FE7CF19-3CED-4DBE-8786-06312DB5CECE}" srcOrd="0" destOrd="4" presId="urn:microsoft.com/office/officeart/2005/8/layout/list1"/>
    <dgm:cxn modelId="{C18203A9-0E06-4809-B761-0C22E16B8FAE}" srcId="{85F3A163-FEAB-42BE-9E5E-DCE9A5B0A76C}" destId="{938A9368-67A8-46D9-9562-0BD2BEEEF73D}" srcOrd="2" destOrd="0" parTransId="{BB1D15CA-48AB-43F7-9492-56795C17E678}" sibTransId="{E1B5C21D-670D-40E4-8F86-65533C039A1C}"/>
    <dgm:cxn modelId="{3096CCA9-35F2-4AFA-8AB5-FD65E6F571FD}" srcId="{A7C3412E-C926-4E4B-B663-E5AE8B04DD14}" destId="{20990A26-4DBD-415B-B359-95CF180A793D}" srcOrd="0" destOrd="0" parTransId="{A10C4F4E-E310-422D-9B17-502459791956}" sibTransId="{BA0B32C9-425F-4410-8E85-DDCAA212A0AE}"/>
    <dgm:cxn modelId="{B267CBB1-32BB-4B1B-8B26-53FDC991E3D6}" type="presOf" srcId="{20990A26-4DBD-415B-B359-95CF180A793D}" destId="{35FE4206-7B14-405E-9F88-9641C0DC186B}" srcOrd="0" destOrd="1" presId="urn:microsoft.com/office/officeart/2005/8/layout/list1"/>
    <dgm:cxn modelId="{024E2EB4-4C31-4FA0-A745-ABE67725330D}" srcId="{45EFFB4F-6C83-4218-8D91-B96561F1C59C}" destId="{50BCF9A8-89FC-4EE1-9F43-8284DCFA9365}" srcOrd="1" destOrd="0" parTransId="{0ADC6A4F-82FE-4766-B502-FDC79F0EE30B}" sibTransId="{616828F8-1445-48DF-B94E-EB8A2813D7D0}"/>
    <dgm:cxn modelId="{CF5322B9-3297-4AD4-8A84-6B269E221175}" type="presOf" srcId="{3F88C0BE-96FD-4159-871C-E1805B5054EB}" destId="{1FE7CF19-3CED-4DBE-8786-06312DB5CECE}" srcOrd="0" destOrd="5" presId="urn:microsoft.com/office/officeart/2005/8/layout/list1"/>
    <dgm:cxn modelId="{C6E397C9-A694-4FAE-AEB3-7954746B5909}" type="presOf" srcId="{50BCF9A8-89FC-4EE1-9F43-8284DCFA9365}" destId="{28943BFF-1EA2-4E0F-AEDD-E7909F0A3B50}" srcOrd="0" destOrd="0" presId="urn:microsoft.com/office/officeart/2005/8/layout/list1"/>
    <dgm:cxn modelId="{18E5D2CA-B15D-44EB-A381-B539BEA9FA81}" srcId="{85F3A163-FEAB-42BE-9E5E-DCE9A5B0A76C}" destId="{8A33AA55-161C-48B1-B09C-44138DFE21E5}" srcOrd="4" destOrd="0" parTransId="{3B490DED-0107-4EF2-952B-08E3D8C74696}" sibTransId="{FED1703F-D652-4D91-9A48-C60517E530A4}"/>
    <dgm:cxn modelId="{05792ACD-F60E-499E-AB25-6AD0D1EA1ED6}" srcId="{85F3A163-FEAB-42BE-9E5E-DCE9A5B0A76C}" destId="{3F88C0BE-96FD-4159-871C-E1805B5054EB}" srcOrd="1" destOrd="0" parTransId="{D25EB91F-BB69-448E-B556-B99E969B87BA}" sibTransId="{7AD7E61A-8250-416A-A997-581F6A9E40B3}"/>
    <dgm:cxn modelId="{3E6C88CE-F632-4AD0-8766-37F76B6D7A60}" type="presOf" srcId="{A7C3412E-C926-4E4B-B663-E5AE8B04DD14}" destId="{35FE4206-7B14-405E-9F88-9641C0DC186B}" srcOrd="0" destOrd="0" presId="urn:microsoft.com/office/officeart/2005/8/layout/list1"/>
    <dgm:cxn modelId="{AF6517D7-16A7-433B-890D-FE90F280EDEF}" type="presOf" srcId="{CA81D4A3-DF69-4455-B47D-7B7158B1E892}" destId="{35FE4206-7B14-405E-9F88-9641C0DC186B}" srcOrd="0" destOrd="6" presId="urn:microsoft.com/office/officeart/2005/8/layout/list1"/>
    <dgm:cxn modelId="{A95F19DA-33D4-4FE4-AFF4-D6CDB0B5E878}" srcId="{A7C3412E-C926-4E4B-B663-E5AE8B04DD14}" destId="{CA81D4A3-DF69-4455-B47D-7B7158B1E892}" srcOrd="5" destOrd="0" parTransId="{F49564B2-1F0F-469C-A4BD-178A72DF557B}" sibTransId="{2EBC4E6E-EDA5-40FA-8295-20325471174B}"/>
    <dgm:cxn modelId="{4F445FE1-D951-4AFF-9C7E-85CAF8144316}" srcId="{85F3A163-FEAB-42BE-9E5E-DCE9A5B0A76C}" destId="{12AFC0D7-0B94-4C6C-9957-0EF072E69D60}" srcOrd="0" destOrd="0" parTransId="{3B00F33C-9CE1-43F4-9147-779070496B9D}" sibTransId="{6069A496-BE10-47B5-B11A-0D2C442C7CD2}"/>
    <dgm:cxn modelId="{2778C8E2-F501-4DAA-A952-84F167850F0E}" srcId="{A7C3412E-C926-4E4B-B663-E5AE8B04DD14}" destId="{19F12296-784B-4C10-A6CE-121A9F7348D5}" srcOrd="4" destOrd="0" parTransId="{B122A410-64BB-4A2C-8A26-2A7DC516EDF1}" sibTransId="{75DA540B-DD64-40DC-9C9B-A1F6D4496B63}"/>
    <dgm:cxn modelId="{B2C58DF1-E2DB-4F01-8401-2AA8A40F77EE}" type="presOf" srcId="{0A72FAAE-AE44-4A5C-8CEF-B181BFF0F296}" destId="{967085C1-04F1-4BCA-8421-55723A2332CF}" srcOrd="0" destOrd="0" presId="urn:microsoft.com/office/officeart/2005/8/layout/list1"/>
    <dgm:cxn modelId="{1ECC4BF2-AE6A-44B6-BFD4-3C9A80DC9E4F}" type="presOf" srcId="{50BCF9A8-89FC-4EE1-9F43-8284DCFA9365}" destId="{63BDEA1A-8875-4E2D-AFE7-698842385703}" srcOrd="1" destOrd="0" presId="urn:microsoft.com/office/officeart/2005/8/layout/list1"/>
    <dgm:cxn modelId="{D39186F4-7EBE-45F7-85A2-93F432320DA1}" type="presOf" srcId="{938A9368-67A8-46D9-9562-0BD2BEEEF73D}" destId="{1FE7CF19-3CED-4DBE-8786-06312DB5CECE}" srcOrd="0" destOrd="6" presId="urn:microsoft.com/office/officeart/2005/8/layout/list1"/>
    <dgm:cxn modelId="{0D6385F5-715B-469F-867E-0D6D9F974977}" srcId="{A7C3412E-C926-4E4B-B663-E5AE8B04DD14}" destId="{CAC01D83-6F9B-4081-9D74-BC3F1E67F4FC}" srcOrd="2" destOrd="0" parTransId="{BB10CBFB-7F4F-43F8-A653-618DC3BF82E3}" sibTransId="{9EFE1A42-E55A-42A5-BB41-104DC9B48BF9}"/>
    <dgm:cxn modelId="{3948BAF8-C0C3-4709-A3C9-0ABA7EAE31D7}" type="presOf" srcId="{7A195917-78A2-4877-B4E2-8D586A9F1C0A}" destId="{1FE7CF19-3CED-4DBE-8786-06312DB5CECE}" srcOrd="0" destOrd="7" presId="urn:microsoft.com/office/officeart/2005/8/layout/list1"/>
    <dgm:cxn modelId="{145D51FD-C14A-4E46-B11C-0C8D8ECD9197}" type="presOf" srcId="{45EFFB4F-6C83-4218-8D91-B96561F1C59C}" destId="{A7F10198-F457-442A-BADE-CD3274EBDDFB}" srcOrd="0" destOrd="0" presId="urn:microsoft.com/office/officeart/2005/8/layout/list1"/>
    <dgm:cxn modelId="{58239D6B-E2A8-4B94-B016-BFD3E72B78BC}" type="presParOf" srcId="{A7F10198-F457-442A-BADE-CD3274EBDDFB}" destId="{F4C49D1E-713E-4CF3-AD1F-2541D6F3D134}" srcOrd="0" destOrd="0" presId="urn:microsoft.com/office/officeart/2005/8/layout/list1"/>
    <dgm:cxn modelId="{8B705399-1674-47A2-AF97-352D04112193}" type="presParOf" srcId="{F4C49D1E-713E-4CF3-AD1F-2541D6F3D134}" destId="{967085C1-04F1-4BCA-8421-55723A2332CF}" srcOrd="0" destOrd="0" presId="urn:microsoft.com/office/officeart/2005/8/layout/list1"/>
    <dgm:cxn modelId="{5F9A3DEE-3420-4EDC-B869-C1DCA37A036E}" type="presParOf" srcId="{F4C49D1E-713E-4CF3-AD1F-2541D6F3D134}" destId="{56ECB841-E172-4C5A-AE6B-53BADC4C33B5}" srcOrd="1" destOrd="0" presId="urn:microsoft.com/office/officeart/2005/8/layout/list1"/>
    <dgm:cxn modelId="{8F02482A-086F-4022-9F49-378FB44723F7}" type="presParOf" srcId="{A7F10198-F457-442A-BADE-CD3274EBDDFB}" destId="{B5A2CD40-435C-4075-9FB7-4B9196EFF9C4}" srcOrd="1" destOrd="0" presId="urn:microsoft.com/office/officeart/2005/8/layout/list1"/>
    <dgm:cxn modelId="{E50129B9-7CB1-4C06-B3F0-6DF84406A4A8}" type="presParOf" srcId="{A7F10198-F457-442A-BADE-CD3274EBDDFB}" destId="{1FE7CF19-3CED-4DBE-8786-06312DB5CECE}" srcOrd="2" destOrd="0" presId="urn:microsoft.com/office/officeart/2005/8/layout/list1"/>
    <dgm:cxn modelId="{B9FB1800-2229-4B6B-B7C6-32FF9B728168}" type="presParOf" srcId="{A7F10198-F457-442A-BADE-CD3274EBDDFB}" destId="{EA278826-FB78-4EDB-A0E4-76A0BF46BC7B}" srcOrd="3" destOrd="0" presId="urn:microsoft.com/office/officeart/2005/8/layout/list1"/>
    <dgm:cxn modelId="{8A8AC3E3-E397-480C-8850-24D109813A5F}" type="presParOf" srcId="{A7F10198-F457-442A-BADE-CD3274EBDDFB}" destId="{67E381C9-AD76-4237-8504-BCA3F678B8B3}" srcOrd="4" destOrd="0" presId="urn:microsoft.com/office/officeart/2005/8/layout/list1"/>
    <dgm:cxn modelId="{5BF358B0-F6CC-4BE9-8ADB-01AD39CD0027}" type="presParOf" srcId="{67E381C9-AD76-4237-8504-BCA3F678B8B3}" destId="{28943BFF-1EA2-4E0F-AEDD-E7909F0A3B50}" srcOrd="0" destOrd="0" presId="urn:microsoft.com/office/officeart/2005/8/layout/list1"/>
    <dgm:cxn modelId="{E4CC1D56-D790-4C39-A455-498826D1B8B3}" type="presParOf" srcId="{67E381C9-AD76-4237-8504-BCA3F678B8B3}" destId="{63BDEA1A-8875-4E2D-AFE7-698842385703}" srcOrd="1" destOrd="0" presId="urn:microsoft.com/office/officeart/2005/8/layout/list1"/>
    <dgm:cxn modelId="{768089A5-D8DD-42E4-976E-9269140DF4E3}" type="presParOf" srcId="{A7F10198-F457-442A-BADE-CD3274EBDDFB}" destId="{CE642995-8E60-4B19-9B71-1B9CEDE6A11C}" srcOrd="5" destOrd="0" presId="urn:microsoft.com/office/officeart/2005/8/layout/list1"/>
    <dgm:cxn modelId="{B8704C9A-B128-4FC9-87CF-ADF859E44050}" type="presParOf" srcId="{A7F10198-F457-442A-BADE-CD3274EBDDFB}" destId="{35FE4206-7B14-405E-9F88-9641C0DC186B}"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5EFFB4F-6C83-4218-8D91-B96561F1C59C}" type="doc">
      <dgm:prSet loTypeId="urn:microsoft.com/office/officeart/2005/8/layout/list1" loCatId="list" qsTypeId="urn:microsoft.com/office/officeart/2005/8/quickstyle/simple1" qsCatId="simple" csTypeId="urn:microsoft.com/office/officeart/2005/8/colors/accent3_1" csCatId="accent3" phldr="1"/>
      <dgm:spPr/>
    </dgm:pt>
    <dgm:pt modelId="{0A72FAAE-AE44-4A5C-8CEF-B181BFF0F296}">
      <dgm:prSet phldrT="[Text]" custT="1"/>
      <dgm:spPr/>
      <dgm:t>
        <a:bodyPr/>
        <a:lstStyle/>
        <a:p>
          <a:r>
            <a:rPr lang="en-IN" sz="2000" b="1" dirty="0"/>
            <a:t>CG Internal Teams / SharePoint Folder</a:t>
          </a:r>
          <a:endParaRPr lang="en-IN" sz="2000" dirty="0"/>
        </a:p>
      </dgm:t>
    </dgm:pt>
    <dgm:pt modelId="{B992345F-1DDC-4DE6-BEA9-7336E54A69CF}" type="parTrans" cxnId="{8D9A8C06-E4DC-4628-A8A2-60790CD781B3}">
      <dgm:prSet/>
      <dgm:spPr/>
      <dgm:t>
        <a:bodyPr/>
        <a:lstStyle/>
        <a:p>
          <a:endParaRPr lang="en-IN"/>
        </a:p>
      </dgm:t>
    </dgm:pt>
    <dgm:pt modelId="{0943808F-714C-4CA3-A3A0-EAF6F41C3BE4}" type="sibTrans" cxnId="{8D9A8C06-E4DC-4628-A8A2-60790CD781B3}">
      <dgm:prSet/>
      <dgm:spPr/>
      <dgm:t>
        <a:bodyPr/>
        <a:lstStyle/>
        <a:p>
          <a:endParaRPr lang="en-IN"/>
        </a:p>
      </dgm:t>
    </dgm:pt>
    <dgm:pt modelId="{1D452C0D-DEB6-463D-8801-B0FDA8EF0036}">
      <dgm:prSet phldrT="[Text]" custT="1"/>
      <dgm:spPr/>
      <dgm:t>
        <a:bodyPr/>
        <a:lstStyle/>
        <a:p>
          <a:r>
            <a:rPr lang="en-IN" sz="2000" b="1" dirty="0"/>
            <a:t>AppStream</a:t>
          </a:r>
        </a:p>
      </dgm:t>
    </dgm:pt>
    <dgm:pt modelId="{D30E5AE8-4DBA-44E4-95A0-97AA8E37C15E}" type="parTrans" cxnId="{8C6577FB-AAC1-4E2E-AE6C-B627AF3121A3}">
      <dgm:prSet/>
      <dgm:spPr/>
      <dgm:t>
        <a:bodyPr/>
        <a:lstStyle/>
        <a:p>
          <a:endParaRPr lang="en-IN"/>
        </a:p>
      </dgm:t>
    </dgm:pt>
    <dgm:pt modelId="{2C3BBE91-C303-44D1-9143-146A87528702}" type="sibTrans" cxnId="{8C6577FB-AAC1-4E2E-AE6C-B627AF3121A3}">
      <dgm:prSet/>
      <dgm:spPr/>
      <dgm:t>
        <a:bodyPr/>
        <a:lstStyle/>
        <a:p>
          <a:endParaRPr lang="en-IN"/>
        </a:p>
      </dgm:t>
    </dgm:pt>
    <dgm:pt modelId="{FDE0C72D-8082-48CA-AC4B-AFE8062DE21E}">
      <dgm:prSet custT="1"/>
      <dgm:spPr/>
      <dgm:t>
        <a:bodyPr/>
        <a:lstStyle/>
        <a:p>
          <a:r>
            <a:rPr lang="en-IN" sz="1800" dirty="0">
              <a:latin typeface="+mj-lt"/>
            </a:rPr>
            <a:t>The Teams folder for the project is named ‘MCC – Mitsubishi Chemical Corporation’.</a:t>
          </a:r>
        </a:p>
      </dgm:t>
    </dgm:pt>
    <dgm:pt modelId="{E2111246-CE86-443B-8688-AB44F8945A79}" type="parTrans" cxnId="{44B4F570-655B-4AFA-A50A-19278345B610}">
      <dgm:prSet/>
      <dgm:spPr/>
      <dgm:t>
        <a:bodyPr/>
        <a:lstStyle/>
        <a:p>
          <a:endParaRPr lang="en-IN"/>
        </a:p>
      </dgm:t>
    </dgm:pt>
    <dgm:pt modelId="{6A89FC8B-CD4B-471E-BBD4-9CCF8969FC89}" type="sibTrans" cxnId="{44B4F570-655B-4AFA-A50A-19278345B610}">
      <dgm:prSet/>
      <dgm:spPr/>
      <dgm:t>
        <a:bodyPr/>
        <a:lstStyle/>
        <a:p>
          <a:endParaRPr lang="en-IN"/>
        </a:p>
      </dgm:t>
    </dgm:pt>
    <dgm:pt modelId="{D99A03D9-9AC1-49B3-AFAE-0905BB65F69F}">
      <dgm:prSet custT="1"/>
      <dgm:spPr/>
      <dgm:t>
        <a:bodyPr/>
        <a:lstStyle/>
        <a:p>
          <a:r>
            <a:rPr lang="en-IN" sz="1800">
              <a:latin typeface="+mj-lt"/>
            </a:rPr>
            <a:t>All documentation is to be updated in the channel -07_MoneG Delivery Folder</a:t>
          </a:r>
          <a:endParaRPr lang="en-IN" sz="1800" dirty="0">
            <a:latin typeface="+mj-lt"/>
          </a:endParaRPr>
        </a:p>
      </dgm:t>
    </dgm:pt>
    <dgm:pt modelId="{A89657BA-B78E-4D7F-A5A7-CF9A65190E2C}" type="parTrans" cxnId="{B19C59B5-DBD2-414F-9AED-B0E930CAF673}">
      <dgm:prSet/>
      <dgm:spPr/>
      <dgm:t>
        <a:bodyPr/>
        <a:lstStyle/>
        <a:p>
          <a:endParaRPr lang="en-IN"/>
        </a:p>
      </dgm:t>
    </dgm:pt>
    <dgm:pt modelId="{6F89644A-DEF2-4062-9473-048739B1FD27}" type="sibTrans" cxnId="{B19C59B5-DBD2-414F-9AED-B0E930CAF673}">
      <dgm:prSet/>
      <dgm:spPr/>
      <dgm:t>
        <a:bodyPr/>
        <a:lstStyle/>
        <a:p>
          <a:endParaRPr lang="en-IN"/>
        </a:p>
      </dgm:t>
    </dgm:pt>
    <dgm:pt modelId="{6EC2CF61-D982-4275-ADA3-4F10D6D5DD4F}">
      <dgm:prSet custT="1"/>
      <dgm:spPr/>
      <dgm:t>
        <a:bodyPr/>
        <a:lstStyle/>
        <a:p>
          <a:r>
            <a:rPr lang="en-IN" sz="1800">
              <a:latin typeface="+mj-lt"/>
            </a:rPr>
            <a:t>If any member is to be added to the Teams group, kindly drop a note to </a:t>
          </a:r>
          <a:r>
            <a:rPr lang="en-IN" sz="1800" u="sng">
              <a:solidFill>
                <a:srgbClr val="00929B"/>
              </a:solidFill>
              <a:latin typeface="+mj-lt"/>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MoneG PMO Team</a:t>
          </a:r>
          <a:r>
            <a:rPr lang="en-IN" sz="1900"/>
            <a:t>.</a:t>
          </a:r>
          <a:endParaRPr lang="en-IN" sz="1900" dirty="0"/>
        </a:p>
      </dgm:t>
    </dgm:pt>
    <dgm:pt modelId="{1977D5CD-F9C1-4009-B7E5-D120D095AFEA}" type="parTrans" cxnId="{5299F1E4-5619-4F2D-93E3-394B371A3F24}">
      <dgm:prSet/>
      <dgm:spPr/>
      <dgm:t>
        <a:bodyPr/>
        <a:lstStyle/>
        <a:p>
          <a:endParaRPr lang="en-IN"/>
        </a:p>
      </dgm:t>
    </dgm:pt>
    <dgm:pt modelId="{34D3BFEB-F9A9-44F2-B0B0-51A9C9F0BC11}" type="sibTrans" cxnId="{5299F1E4-5619-4F2D-93E3-394B371A3F24}">
      <dgm:prSet/>
      <dgm:spPr/>
      <dgm:t>
        <a:bodyPr/>
        <a:lstStyle/>
        <a:p>
          <a:endParaRPr lang="en-IN"/>
        </a:p>
      </dgm:t>
    </dgm:pt>
    <dgm:pt modelId="{A7C3412E-C926-4E4B-B663-E5AE8B04DD14}">
      <dgm:prSet/>
      <dgm:spPr/>
      <dgm:t>
        <a:bodyPr/>
        <a:lstStyle/>
        <a:p>
          <a:endParaRPr lang="en-IN" sz="1900" dirty="0"/>
        </a:p>
      </dgm:t>
    </dgm:pt>
    <dgm:pt modelId="{1B3F6C50-1F76-4061-8ACD-C21C5561E250}" type="parTrans" cxnId="{A75F0A9C-2C4F-4E55-BCD6-AA22F165A476}">
      <dgm:prSet/>
      <dgm:spPr/>
      <dgm:t>
        <a:bodyPr/>
        <a:lstStyle/>
        <a:p>
          <a:endParaRPr lang="en-IN"/>
        </a:p>
      </dgm:t>
    </dgm:pt>
    <dgm:pt modelId="{47C9638A-5F53-4ECA-8204-B4A81FDFD2E0}" type="sibTrans" cxnId="{A75F0A9C-2C4F-4E55-BCD6-AA22F165A476}">
      <dgm:prSet/>
      <dgm:spPr/>
      <dgm:t>
        <a:bodyPr/>
        <a:lstStyle/>
        <a:p>
          <a:endParaRPr lang="en-IN"/>
        </a:p>
      </dgm:t>
    </dgm:pt>
    <dgm:pt modelId="{DB4F1478-4A7B-42E8-A6DC-723AC380C345}">
      <dgm:prSet custT="1"/>
      <dgm:spPr/>
      <dgm:t>
        <a:bodyPr/>
        <a:lstStyle/>
        <a:p>
          <a:r>
            <a:rPr lang="en-US" sz="1800" kern="1200" dirty="0">
              <a:solidFill>
                <a:srgbClr val="000000"/>
              </a:solidFill>
            </a:rPr>
            <a:t>Notify the onboarding to </a:t>
          </a:r>
          <a:r>
            <a:rPr lang="en-IN" sz="1800" u="sng" kern="1200" dirty="0">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a:t>
          </a:r>
          <a:r>
            <a:rPr lang="en-IN" sz="1800" u="sng" kern="1200" dirty="0" err="1">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oneG</a:t>
          </a:r>
          <a:r>
            <a:rPr lang="en-IN" sz="1800" u="sng" kern="1200" dirty="0">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 PMO Team</a:t>
          </a:r>
          <a:r>
            <a:rPr kumimoji="1" lang="en-IN" sz="1800" u="none" kern="1200" dirty="0">
              <a:solidFill>
                <a:schemeClr val="dk1"/>
              </a:solidFill>
            </a:rPr>
            <a:t>.</a:t>
          </a:r>
          <a:endParaRPr lang="en-IN" sz="1800" kern="1200" dirty="0">
            <a:latin typeface="+mj-lt"/>
          </a:endParaRPr>
        </a:p>
      </dgm:t>
    </dgm:pt>
    <dgm:pt modelId="{389AF5A8-21A4-431D-A56E-2E5A5229F8B2}" type="parTrans" cxnId="{01FCD560-B9F0-437F-82D9-719380AC7CAA}">
      <dgm:prSet/>
      <dgm:spPr/>
      <dgm:t>
        <a:bodyPr/>
        <a:lstStyle/>
        <a:p>
          <a:endParaRPr lang="en-IN"/>
        </a:p>
      </dgm:t>
    </dgm:pt>
    <dgm:pt modelId="{2B29C5F1-15FF-4B2A-8CF1-93B37B79F335}" type="sibTrans" cxnId="{01FCD560-B9F0-437F-82D9-719380AC7CAA}">
      <dgm:prSet/>
      <dgm:spPr/>
      <dgm:t>
        <a:bodyPr/>
        <a:lstStyle/>
        <a:p>
          <a:endParaRPr lang="en-IN"/>
        </a:p>
      </dgm:t>
    </dgm:pt>
    <dgm:pt modelId="{77AFCED3-B0B0-47C9-861F-317E28A818F4}">
      <dgm:prSet custT="1"/>
      <dgm:spPr/>
      <dgm:t>
        <a:bodyPr/>
        <a:lstStyle/>
        <a:p>
          <a:r>
            <a:rPr lang="en-US" sz="1800" kern="1200" dirty="0">
              <a:latin typeface="+mj-lt"/>
            </a:rPr>
            <a:t>Post approval from MCG, you will receive an email from </a:t>
          </a:r>
          <a:r>
            <a:rPr lang="en-IN" sz="1800" u="sng" kern="1200" dirty="0">
              <a:latin typeface="+mj-lt"/>
              <a:hlinkClick xmlns:r="http://schemas.openxmlformats.org/officeDocument/2006/relationships" r:id="rId2"/>
            </a:rPr>
            <a:t>no-reply@cloud-idf.com</a:t>
          </a:r>
          <a:r>
            <a:rPr lang="en-US" sz="1800" kern="1200" dirty="0">
              <a:latin typeface="+mj-lt"/>
            </a:rPr>
            <a:t>, check your spam folder ​</a:t>
          </a:r>
        </a:p>
      </dgm:t>
    </dgm:pt>
    <dgm:pt modelId="{C027D6D6-7BFE-4FB9-B9C0-06F8D27303C5}" type="parTrans" cxnId="{63BD8B2A-22B9-48C0-9779-EFFD65970920}">
      <dgm:prSet/>
      <dgm:spPr/>
      <dgm:t>
        <a:bodyPr/>
        <a:lstStyle/>
        <a:p>
          <a:endParaRPr lang="en-IN"/>
        </a:p>
      </dgm:t>
    </dgm:pt>
    <dgm:pt modelId="{E312EDF6-2D02-4A68-A595-C0166BB29D29}" type="sibTrans" cxnId="{63BD8B2A-22B9-48C0-9779-EFFD65970920}">
      <dgm:prSet/>
      <dgm:spPr/>
      <dgm:t>
        <a:bodyPr/>
        <a:lstStyle/>
        <a:p>
          <a:endParaRPr lang="en-IN"/>
        </a:p>
      </dgm:t>
    </dgm:pt>
    <dgm:pt modelId="{8FA54C91-781D-44C4-BFCF-E3C5C3425DE5}">
      <dgm:prSet custT="1"/>
      <dgm:spPr/>
      <dgm:t>
        <a:bodyPr/>
        <a:lstStyle/>
        <a:p>
          <a:r>
            <a:rPr lang="en-US" sz="1800" kern="1200" dirty="0">
              <a:latin typeface="+mj-lt"/>
            </a:rPr>
            <a:t>Follow the steps shown in the next slide</a:t>
          </a:r>
        </a:p>
      </dgm:t>
    </dgm:pt>
    <dgm:pt modelId="{DFC7AA31-96DF-48A3-A04A-EE7E353484A8}" type="parTrans" cxnId="{9A8944C0-0BA2-4DB8-904C-0C57705B39F4}">
      <dgm:prSet/>
      <dgm:spPr/>
      <dgm:t>
        <a:bodyPr/>
        <a:lstStyle/>
        <a:p>
          <a:endParaRPr lang="en-IN"/>
        </a:p>
      </dgm:t>
    </dgm:pt>
    <dgm:pt modelId="{F1915350-954F-419B-8CA8-5280D7CF0599}" type="sibTrans" cxnId="{9A8944C0-0BA2-4DB8-904C-0C57705B39F4}">
      <dgm:prSet/>
      <dgm:spPr/>
      <dgm:t>
        <a:bodyPr/>
        <a:lstStyle/>
        <a:p>
          <a:endParaRPr lang="en-IN"/>
        </a:p>
      </dgm:t>
    </dgm:pt>
    <dgm:pt modelId="{55A9C33B-E977-47CB-803B-BA6BDAD1A722}">
      <dgm:prSet custT="1"/>
      <dgm:spPr/>
      <dgm:t>
        <a:bodyPr/>
        <a:lstStyle/>
        <a:p>
          <a:r>
            <a:rPr lang="en-US" sz="1800" kern="1200" dirty="0">
              <a:solidFill>
                <a:prstClr val="black">
                  <a:hueOff val="0"/>
                  <a:satOff val="0"/>
                  <a:lumOff val="0"/>
                  <a:alphaOff val="0"/>
                </a:prstClr>
              </a:solidFill>
              <a:latin typeface="Arial" panose="020B0604020202020204"/>
              <a:ea typeface="+mn-ea"/>
              <a:cs typeface="+mn-cs"/>
            </a:rPr>
            <a:t>Global PMO will request your access.</a:t>
          </a:r>
        </a:p>
      </dgm:t>
    </dgm:pt>
    <dgm:pt modelId="{233D2B49-F03C-4A61-BC15-619CD0177AC2}" type="parTrans" cxnId="{8B784C3A-9D59-45F0-A0A5-E0BEE7A3FE8E}">
      <dgm:prSet/>
      <dgm:spPr/>
      <dgm:t>
        <a:bodyPr/>
        <a:lstStyle/>
        <a:p>
          <a:endParaRPr lang="en-IN"/>
        </a:p>
      </dgm:t>
    </dgm:pt>
    <dgm:pt modelId="{B33DC58C-7D09-4DA7-B756-FA6D77AF751D}" type="sibTrans" cxnId="{8B784C3A-9D59-45F0-A0A5-E0BEE7A3FE8E}">
      <dgm:prSet/>
      <dgm:spPr/>
      <dgm:t>
        <a:bodyPr/>
        <a:lstStyle/>
        <a:p>
          <a:endParaRPr lang="en-IN"/>
        </a:p>
      </dgm:t>
    </dgm:pt>
    <dgm:pt modelId="{63BE3777-4715-4179-BFD9-19C124AA9FA4}" type="pres">
      <dgm:prSet presAssocID="{45EFFB4F-6C83-4218-8D91-B96561F1C59C}" presName="linear" presStyleCnt="0">
        <dgm:presLayoutVars>
          <dgm:dir/>
          <dgm:animLvl val="lvl"/>
          <dgm:resizeHandles val="exact"/>
        </dgm:presLayoutVars>
      </dgm:prSet>
      <dgm:spPr/>
    </dgm:pt>
    <dgm:pt modelId="{3D727D5C-EE0E-46A4-9595-D45E21B8FE41}" type="pres">
      <dgm:prSet presAssocID="{0A72FAAE-AE44-4A5C-8CEF-B181BFF0F296}" presName="parentLin" presStyleCnt="0"/>
      <dgm:spPr/>
    </dgm:pt>
    <dgm:pt modelId="{2F73FD32-B97B-4FDE-ACD6-1AC1E1B5BBBD}" type="pres">
      <dgm:prSet presAssocID="{0A72FAAE-AE44-4A5C-8CEF-B181BFF0F296}" presName="parentLeftMargin" presStyleLbl="node1" presStyleIdx="0" presStyleCnt="2"/>
      <dgm:spPr/>
    </dgm:pt>
    <dgm:pt modelId="{5D4D64D0-C325-4A31-BC59-0613AC5ED74E}" type="pres">
      <dgm:prSet presAssocID="{0A72FAAE-AE44-4A5C-8CEF-B181BFF0F296}" presName="parentText" presStyleLbl="node1" presStyleIdx="0" presStyleCnt="2">
        <dgm:presLayoutVars>
          <dgm:chMax val="0"/>
          <dgm:bulletEnabled val="1"/>
        </dgm:presLayoutVars>
      </dgm:prSet>
      <dgm:spPr/>
    </dgm:pt>
    <dgm:pt modelId="{5075F3CE-BD2A-4F33-98CD-57F761C3ABD3}" type="pres">
      <dgm:prSet presAssocID="{0A72FAAE-AE44-4A5C-8CEF-B181BFF0F296}" presName="negativeSpace" presStyleCnt="0"/>
      <dgm:spPr/>
    </dgm:pt>
    <dgm:pt modelId="{0B21828C-1191-422F-AEA0-A9AA5012DE70}" type="pres">
      <dgm:prSet presAssocID="{0A72FAAE-AE44-4A5C-8CEF-B181BFF0F296}" presName="childText" presStyleLbl="conFgAcc1" presStyleIdx="0" presStyleCnt="2" custScaleY="97986">
        <dgm:presLayoutVars>
          <dgm:bulletEnabled val="1"/>
        </dgm:presLayoutVars>
      </dgm:prSet>
      <dgm:spPr/>
    </dgm:pt>
    <dgm:pt modelId="{32CB9C9E-E938-44C2-8B00-B5B462BDED5F}" type="pres">
      <dgm:prSet presAssocID="{0943808F-714C-4CA3-A3A0-EAF6F41C3BE4}" presName="spaceBetweenRectangles" presStyleCnt="0"/>
      <dgm:spPr/>
    </dgm:pt>
    <dgm:pt modelId="{3AE9609F-D12D-49C2-AA7A-8EA93A9961A8}" type="pres">
      <dgm:prSet presAssocID="{1D452C0D-DEB6-463D-8801-B0FDA8EF0036}" presName="parentLin" presStyleCnt="0"/>
      <dgm:spPr/>
    </dgm:pt>
    <dgm:pt modelId="{2A3F6B44-42E9-47E4-8F79-93FC3C4A0E54}" type="pres">
      <dgm:prSet presAssocID="{1D452C0D-DEB6-463D-8801-B0FDA8EF0036}" presName="parentLeftMargin" presStyleLbl="node1" presStyleIdx="0" presStyleCnt="2"/>
      <dgm:spPr/>
    </dgm:pt>
    <dgm:pt modelId="{5EF8D703-ECF5-4C25-9E77-0E2141174DE5}" type="pres">
      <dgm:prSet presAssocID="{1D452C0D-DEB6-463D-8801-B0FDA8EF0036}" presName="parentText" presStyleLbl="node1" presStyleIdx="1" presStyleCnt="2">
        <dgm:presLayoutVars>
          <dgm:chMax val="0"/>
          <dgm:bulletEnabled val="1"/>
        </dgm:presLayoutVars>
      </dgm:prSet>
      <dgm:spPr/>
    </dgm:pt>
    <dgm:pt modelId="{AB89A6BA-AE86-44CC-9542-FD2138FF635B}" type="pres">
      <dgm:prSet presAssocID="{1D452C0D-DEB6-463D-8801-B0FDA8EF0036}" presName="negativeSpace" presStyleCnt="0"/>
      <dgm:spPr/>
    </dgm:pt>
    <dgm:pt modelId="{D7231557-2E0A-4EDC-800E-2D1A432D45A6}" type="pres">
      <dgm:prSet presAssocID="{1D452C0D-DEB6-463D-8801-B0FDA8EF0036}" presName="childText" presStyleLbl="conFgAcc1" presStyleIdx="1" presStyleCnt="2">
        <dgm:presLayoutVars>
          <dgm:bulletEnabled val="1"/>
        </dgm:presLayoutVars>
      </dgm:prSet>
      <dgm:spPr/>
    </dgm:pt>
  </dgm:ptLst>
  <dgm:cxnLst>
    <dgm:cxn modelId="{B0A32F02-1937-4257-A35E-E6D08B6D3806}" type="presOf" srcId="{77AFCED3-B0B0-47C9-861F-317E28A818F4}" destId="{D7231557-2E0A-4EDC-800E-2D1A432D45A6}" srcOrd="0" destOrd="2" presId="urn:microsoft.com/office/officeart/2005/8/layout/list1"/>
    <dgm:cxn modelId="{8D9A8C06-E4DC-4628-A8A2-60790CD781B3}" srcId="{45EFFB4F-6C83-4218-8D91-B96561F1C59C}" destId="{0A72FAAE-AE44-4A5C-8CEF-B181BFF0F296}" srcOrd="0" destOrd="0" parTransId="{B992345F-1DDC-4DE6-BEA9-7336E54A69CF}" sibTransId="{0943808F-714C-4CA3-A3A0-EAF6F41C3BE4}"/>
    <dgm:cxn modelId="{10C4671F-ACE5-4914-853A-5AF74CDFCF10}" type="presOf" srcId="{A7C3412E-C926-4E4B-B663-E5AE8B04DD14}" destId="{0B21828C-1191-422F-AEA0-A9AA5012DE70}" srcOrd="0" destOrd="3" presId="urn:microsoft.com/office/officeart/2005/8/layout/list1"/>
    <dgm:cxn modelId="{63BD8B2A-22B9-48C0-9779-EFFD65970920}" srcId="{1D452C0D-DEB6-463D-8801-B0FDA8EF0036}" destId="{77AFCED3-B0B0-47C9-861F-317E28A818F4}" srcOrd="2" destOrd="0" parTransId="{C027D6D6-7BFE-4FB9-B9C0-06F8D27303C5}" sibTransId="{E312EDF6-2D02-4A68-A595-C0166BB29D29}"/>
    <dgm:cxn modelId="{47366736-580C-4033-B1BD-FBDE4087F8D7}" type="presOf" srcId="{55A9C33B-E977-47CB-803B-BA6BDAD1A722}" destId="{D7231557-2E0A-4EDC-800E-2D1A432D45A6}" srcOrd="0" destOrd="1" presId="urn:microsoft.com/office/officeart/2005/8/layout/list1"/>
    <dgm:cxn modelId="{8B784C3A-9D59-45F0-A0A5-E0BEE7A3FE8E}" srcId="{1D452C0D-DEB6-463D-8801-B0FDA8EF0036}" destId="{55A9C33B-E977-47CB-803B-BA6BDAD1A722}" srcOrd="1" destOrd="0" parTransId="{233D2B49-F03C-4A61-BC15-619CD0177AC2}" sibTransId="{B33DC58C-7D09-4DA7-B756-FA6D77AF751D}"/>
    <dgm:cxn modelId="{C23DD63B-7146-46A3-BAC3-91306E52414B}" type="presOf" srcId="{0A72FAAE-AE44-4A5C-8CEF-B181BFF0F296}" destId="{2F73FD32-B97B-4FDE-ACD6-1AC1E1B5BBBD}" srcOrd="0" destOrd="0" presId="urn:microsoft.com/office/officeart/2005/8/layout/list1"/>
    <dgm:cxn modelId="{6F3B373F-0223-46FC-8094-52B6B7781551}" type="presOf" srcId="{8FA54C91-781D-44C4-BFCF-E3C5C3425DE5}" destId="{D7231557-2E0A-4EDC-800E-2D1A432D45A6}" srcOrd="0" destOrd="3" presId="urn:microsoft.com/office/officeart/2005/8/layout/list1"/>
    <dgm:cxn modelId="{01FCD560-B9F0-437F-82D9-719380AC7CAA}" srcId="{1D452C0D-DEB6-463D-8801-B0FDA8EF0036}" destId="{DB4F1478-4A7B-42E8-A6DC-723AC380C345}" srcOrd="0" destOrd="0" parTransId="{389AF5A8-21A4-431D-A56E-2E5A5229F8B2}" sibTransId="{2B29C5F1-15FF-4B2A-8CF1-93B37B79F335}"/>
    <dgm:cxn modelId="{EDD9C165-EB29-479A-AF83-B946CC69186C}" type="presOf" srcId="{45EFFB4F-6C83-4218-8D91-B96561F1C59C}" destId="{63BE3777-4715-4179-BFD9-19C124AA9FA4}" srcOrd="0" destOrd="0" presId="urn:microsoft.com/office/officeart/2005/8/layout/list1"/>
    <dgm:cxn modelId="{44B4F570-655B-4AFA-A50A-19278345B610}" srcId="{0A72FAAE-AE44-4A5C-8CEF-B181BFF0F296}" destId="{FDE0C72D-8082-48CA-AC4B-AFE8062DE21E}" srcOrd="0" destOrd="0" parTransId="{E2111246-CE86-443B-8688-AB44F8945A79}" sibTransId="{6A89FC8B-CD4B-471E-BBD4-9CCF8969FC89}"/>
    <dgm:cxn modelId="{308E4578-4BE4-4BA8-AA2D-C0339618A9D4}" type="presOf" srcId="{0A72FAAE-AE44-4A5C-8CEF-B181BFF0F296}" destId="{5D4D64D0-C325-4A31-BC59-0613AC5ED74E}" srcOrd="1" destOrd="0" presId="urn:microsoft.com/office/officeart/2005/8/layout/list1"/>
    <dgm:cxn modelId="{1B6C0785-963C-457E-87C8-36D732DB3C70}" type="presOf" srcId="{FDE0C72D-8082-48CA-AC4B-AFE8062DE21E}" destId="{0B21828C-1191-422F-AEA0-A9AA5012DE70}" srcOrd="0" destOrd="0" presId="urn:microsoft.com/office/officeart/2005/8/layout/list1"/>
    <dgm:cxn modelId="{A75F0A9C-2C4F-4E55-BCD6-AA22F165A476}" srcId="{0A72FAAE-AE44-4A5C-8CEF-B181BFF0F296}" destId="{A7C3412E-C926-4E4B-B663-E5AE8B04DD14}" srcOrd="3" destOrd="0" parTransId="{1B3F6C50-1F76-4061-8ACD-C21C5561E250}" sibTransId="{47C9638A-5F53-4ECA-8204-B4A81FDFD2E0}"/>
    <dgm:cxn modelId="{858B15A9-CEC9-4906-9F50-546060EC32E3}" type="presOf" srcId="{1D452C0D-DEB6-463D-8801-B0FDA8EF0036}" destId="{5EF8D703-ECF5-4C25-9E77-0E2141174DE5}" srcOrd="1" destOrd="0" presId="urn:microsoft.com/office/officeart/2005/8/layout/list1"/>
    <dgm:cxn modelId="{B19C59B5-DBD2-414F-9AED-B0E930CAF673}" srcId="{0A72FAAE-AE44-4A5C-8CEF-B181BFF0F296}" destId="{D99A03D9-9AC1-49B3-AFAE-0905BB65F69F}" srcOrd="1" destOrd="0" parTransId="{A89657BA-B78E-4D7F-A5A7-CF9A65190E2C}" sibTransId="{6F89644A-DEF2-4062-9473-048739B1FD27}"/>
    <dgm:cxn modelId="{9A8944C0-0BA2-4DB8-904C-0C57705B39F4}" srcId="{1D452C0D-DEB6-463D-8801-B0FDA8EF0036}" destId="{8FA54C91-781D-44C4-BFCF-E3C5C3425DE5}" srcOrd="3" destOrd="0" parTransId="{DFC7AA31-96DF-48A3-A04A-EE7E353484A8}" sibTransId="{F1915350-954F-419B-8CA8-5280D7CF0599}"/>
    <dgm:cxn modelId="{37C8C1CC-007F-4C5C-AE94-7671C423CA8B}" type="presOf" srcId="{D99A03D9-9AC1-49B3-AFAE-0905BB65F69F}" destId="{0B21828C-1191-422F-AEA0-A9AA5012DE70}" srcOrd="0" destOrd="1" presId="urn:microsoft.com/office/officeart/2005/8/layout/list1"/>
    <dgm:cxn modelId="{0EF710DA-E4C4-4DA1-B84D-5FEB804607C0}" type="presOf" srcId="{DB4F1478-4A7B-42E8-A6DC-723AC380C345}" destId="{D7231557-2E0A-4EDC-800E-2D1A432D45A6}" srcOrd="0" destOrd="0" presId="urn:microsoft.com/office/officeart/2005/8/layout/list1"/>
    <dgm:cxn modelId="{4EB310E1-D8CD-4460-8235-D4CF13A80534}" type="presOf" srcId="{1D452C0D-DEB6-463D-8801-B0FDA8EF0036}" destId="{2A3F6B44-42E9-47E4-8F79-93FC3C4A0E54}" srcOrd="0" destOrd="0" presId="urn:microsoft.com/office/officeart/2005/8/layout/list1"/>
    <dgm:cxn modelId="{5299F1E4-5619-4F2D-93E3-394B371A3F24}" srcId="{0A72FAAE-AE44-4A5C-8CEF-B181BFF0F296}" destId="{6EC2CF61-D982-4275-ADA3-4F10D6D5DD4F}" srcOrd="2" destOrd="0" parTransId="{1977D5CD-F9C1-4009-B7E5-D120D095AFEA}" sibTransId="{34D3BFEB-F9A9-44F2-B0B0-51A9C9F0BC11}"/>
    <dgm:cxn modelId="{65B6FFF5-B561-40A8-AFD5-1394963F2A69}" type="presOf" srcId="{6EC2CF61-D982-4275-ADA3-4F10D6D5DD4F}" destId="{0B21828C-1191-422F-AEA0-A9AA5012DE70}" srcOrd="0" destOrd="2" presId="urn:microsoft.com/office/officeart/2005/8/layout/list1"/>
    <dgm:cxn modelId="{8C6577FB-AAC1-4E2E-AE6C-B627AF3121A3}" srcId="{45EFFB4F-6C83-4218-8D91-B96561F1C59C}" destId="{1D452C0D-DEB6-463D-8801-B0FDA8EF0036}" srcOrd="1" destOrd="0" parTransId="{D30E5AE8-4DBA-44E4-95A0-97AA8E37C15E}" sibTransId="{2C3BBE91-C303-44D1-9143-146A87528702}"/>
    <dgm:cxn modelId="{754876C7-2938-4380-B4E4-24483F99E64F}" type="presParOf" srcId="{63BE3777-4715-4179-BFD9-19C124AA9FA4}" destId="{3D727D5C-EE0E-46A4-9595-D45E21B8FE41}" srcOrd="0" destOrd="0" presId="urn:microsoft.com/office/officeart/2005/8/layout/list1"/>
    <dgm:cxn modelId="{1D6E385E-3BAE-434E-AC25-A15C40D2C5B6}" type="presParOf" srcId="{3D727D5C-EE0E-46A4-9595-D45E21B8FE41}" destId="{2F73FD32-B97B-4FDE-ACD6-1AC1E1B5BBBD}" srcOrd="0" destOrd="0" presId="urn:microsoft.com/office/officeart/2005/8/layout/list1"/>
    <dgm:cxn modelId="{D396D710-0010-4116-9AB8-2DE1883B8666}" type="presParOf" srcId="{3D727D5C-EE0E-46A4-9595-D45E21B8FE41}" destId="{5D4D64D0-C325-4A31-BC59-0613AC5ED74E}" srcOrd="1" destOrd="0" presId="urn:microsoft.com/office/officeart/2005/8/layout/list1"/>
    <dgm:cxn modelId="{A84ECE41-6F20-4DB7-A392-461AC414AF30}" type="presParOf" srcId="{63BE3777-4715-4179-BFD9-19C124AA9FA4}" destId="{5075F3CE-BD2A-4F33-98CD-57F761C3ABD3}" srcOrd="1" destOrd="0" presId="urn:microsoft.com/office/officeart/2005/8/layout/list1"/>
    <dgm:cxn modelId="{00C67AB8-01CA-424D-A35D-3EF28B2A7613}" type="presParOf" srcId="{63BE3777-4715-4179-BFD9-19C124AA9FA4}" destId="{0B21828C-1191-422F-AEA0-A9AA5012DE70}" srcOrd="2" destOrd="0" presId="urn:microsoft.com/office/officeart/2005/8/layout/list1"/>
    <dgm:cxn modelId="{26B9F8CC-4DD0-4AF2-989C-9F508307ED57}" type="presParOf" srcId="{63BE3777-4715-4179-BFD9-19C124AA9FA4}" destId="{32CB9C9E-E938-44C2-8B00-B5B462BDED5F}" srcOrd="3" destOrd="0" presId="urn:microsoft.com/office/officeart/2005/8/layout/list1"/>
    <dgm:cxn modelId="{F5F222AB-37A0-45CE-A341-A357C54B4040}" type="presParOf" srcId="{63BE3777-4715-4179-BFD9-19C124AA9FA4}" destId="{3AE9609F-D12D-49C2-AA7A-8EA93A9961A8}" srcOrd="4" destOrd="0" presId="urn:microsoft.com/office/officeart/2005/8/layout/list1"/>
    <dgm:cxn modelId="{C1F31CDC-9029-4FC6-B7E2-3F263F9118DB}" type="presParOf" srcId="{3AE9609F-D12D-49C2-AA7A-8EA93A9961A8}" destId="{2A3F6B44-42E9-47E4-8F79-93FC3C4A0E54}" srcOrd="0" destOrd="0" presId="urn:microsoft.com/office/officeart/2005/8/layout/list1"/>
    <dgm:cxn modelId="{B4D34B59-96A8-4320-BAEB-0F737C371A32}" type="presParOf" srcId="{3AE9609F-D12D-49C2-AA7A-8EA93A9961A8}" destId="{5EF8D703-ECF5-4C25-9E77-0E2141174DE5}" srcOrd="1" destOrd="0" presId="urn:microsoft.com/office/officeart/2005/8/layout/list1"/>
    <dgm:cxn modelId="{04703671-340B-4FF3-B05A-1E040BB14DC7}" type="presParOf" srcId="{63BE3777-4715-4179-BFD9-19C124AA9FA4}" destId="{AB89A6BA-AE86-44CC-9542-FD2138FF635B}" srcOrd="5" destOrd="0" presId="urn:microsoft.com/office/officeart/2005/8/layout/list1"/>
    <dgm:cxn modelId="{DE3BDCD3-8418-4E49-8DCE-853CE456C23A}" type="presParOf" srcId="{63BE3777-4715-4179-BFD9-19C124AA9FA4}" destId="{D7231557-2E0A-4EDC-800E-2D1A432D45A6}"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2D7F4B-25E2-4F9D-99A2-CC744F805DDE}" type="doc">
      <dgm:prSet loTypeId="urn:microsoft.com/office/officeart/2005/8/layout/process1" loCatId="process" qsTypeId="urn:microsoft.com/office/officeart/2005/8/quickstyle/simple1" qsCatId="simple" csTypeId="urn:microsoft.com/office/officeart/2005/8/colors/accent1_2" csCatId="accent1" phldr="1"/>
      <dgm:spPr/>
    </dgm:pt>
    <dgm:pt modelId="{F915650E-6808-425D-8B7D-9E9F93512AE6}">
      <dgm:prSet phldrT="[Text]" custT="1">
        <dgm:style>
          <a:lnRef idx="2">
            <a:schemeClr val="accent1"/>
          </a:lnRef>
          <a:fillRef idx="1">
            <a:schemeClr val="lt1"/>
          </a:fillRef>
          <a:effectRef idx="0">
            <a:schemeClr val="accent1"/>
          </a:effectRef>
          <a:fontRef idx="minor">
            <a:schemeClr val="dk1"/>
          </a:fontRef>
        </dgm:style>
      </dgm:prSet>
      <dgm:spPr/>
      <dgm:t>
        <a:bodyPr/>
        <a:lstStyle/>
        <a:p>
          <a:pPr algn="l">
            <a:buAutoNum type="arabicPeriod"/>
          </a:pPr>
          <a:r>
            <a:rPr lang="en-US" sz="1600" dirty="0"/>
            <a:t>1. </a:t>
          </a:r>
          <a:r>
            <a:rPr lang="en-US" sz="1100" dirty="0"/>
            <a:t>Click on the URL in the welcome email from  </a:t>
          </a:r>
          <a:r>
            <a:rPr lang="en-US" sz="1100" dirty="0" err="1"/>
            <a:t>APPStream</a:t>
          </a:r>
          <a:r>
            <a:rPr lang="en-US" sz="1100" dirty="0"/>
            <a:t> </a:t>
          </a:r>
        </a:p>
        <a:p>
          <a:pPr algn="l">
            <a:buAutoNum type="arabicPeriod"/>
          </a:pPr>
          <a:r>
            <a:rPr lang="en-US" sz="1100" dirty="0"/>
            <a:t>Sub</a:t>
          </a:r>
          <a:r>
            <a:rPr lang="en-US" sz="1100" i="1" dirty="0"/>
            <a:t>: [ID Federation] password initialization\</a:t>
          </a:r>
        </a:p>
      </dgm:t>
    </dgm:pt>
    <dgm:pt modelId="{E632A9CF-E8FF-43FD-902B-1B10839C01B0}" type="parTrans" cxnId="{4B9B5D37-55F5-4C45-9E9C-A83A93C7287A}">
      <dgm:prSet/>
      <dgm:spPr/>
      <dgm:t>
        <a:bodyPr/>
        <a:lstStyle/>
        <a:p>
          <a:endParaRPr lang="en-US"/>
        </a:p>
      </dgm:t>
    </dgm:pt>
    <dgm:pt modelId="{B46DA47B-6ACC-4050-BEBB-EE9B1BF5E1AE}" type="sibTrans" cxnId="{4B9B5D37-55F5-4C45-9E9C-A83A93C7287A}">
      <dgm:prSet/>
      <dgm:spPr/>
      <dgm:t>
        <a:bodyPr/>
        <a:lstStyle/>
        <a:p>
          <a:endParaRPr lang="en-US"/>
        </a:p>
      </dgm:t>
    </dgm:pt>
    <dgm:pt modelId="{208FB369-DC0E-4FF1-A17B-95B6A98BD3C4}">
      <dgm:prSet phldrT="[Text]" custT="1">
        <dgm:style>
          <a:lnRef idx="2">
            <a:schemeClr val="accent2"/>
          </a:lnRef>
          <a:fillRef idx="1">
            <a:schemeClr val="lt1"/>
          </a:fillRef>
          <a:effectRef idx="0">
            <a:schemeClr val="accent2"/>
          </a:effectRef>
          <a:fontRef idx="minor">
            <a:schemeClr val="dk1"/>
          </a:fontRef>
        </dgm:style>
      </dgm:prSet>
      <dgm:spPr/>
      <dgm:t>
        <a:bodyPr/>
        <a:lstStyle/>
        <a:p>
          <a:pPr marL="0" lvl="0" algn="l" defTabSz="488950">
            <a:lnSpc>
              <a:spcPct val="90000"/>
            </a:lnSpc>
            <a:spcBef>
              <a:spcPct val="0"/>
            </a:spcBef>
            <a:spcAft>
              <a:spcPct val="35000"/>
            </a:spcAft>
            <a:buNone/>
          </a:pPr>
          <a:r>
            <a:rPr lang="en-US" sz="1600" kern="1200" dirty="0">
              <a:solidFill>
                <a:prstClr val="black"/>
              </a:solidFill>
              <a:latin typeface="Arial" panose="020B0604020202020204"/>
              <a:ea typeface="+mn-ea"/>
              <a:cs typeface="+mn-cs"/>
            </a:rPr>
            <a:t>2. </a:t>
          </a:r>
          <a:r>
            <a:rPr lang="en-US" sz="1100" kern="1200" dirty="0">
              <a:solidFill>
                <a:prstClr val="black"/>
              </a:solidFill>
              <a:latin typeface="Arial" panose="020B0604020202020204"/>
              <a:ea typeface="+mn-ea"/>
              <a:cs typeface="+mn-cs"/>
            </a:rPr>
            <a:t>Set your password</a:t>
          </a:r>
        </a:p>
      </dgm:t>
    </dgm:pt>
    <dgm:pt modelId="{0FE6E4EA-FD3F-408B-878B-A43F9AE1DEE1}" type="parTrans" cxnId="{A7C05D7A-29E4-48A3-AB56-ED60DA1046F3}">
      <dgm:prSet/>
      <dgm:spPr/>
      <dgm:t>
        <a:bodyPr/>
        <a:lstStyle/>
        <a:p>
          <a:endParaRPr lang="en-US"/>
        </a:p>
      </dgm:t>
    </dgm:pt>
    <dgm:pt modelId="{1CA1B712-BD05-49CD-BBA8-70E87E69AAFA}" type="sibTrans" cxnId="{A7C05D7A-29E4-48A3-AB56-ED60DA1046F3}">
      <dgm:prSet/>
      <dgm:spPr/>
      <dgm:t>
        <a:bodyPr/>
        <a:lstStyle/>
        <a:p>
          <a:endParaRPr lang="en-US"/>
        </a:p>
      </dgm:t>
    </dgm:pt>
    <dgm:pt modelId="{36AEC749-253C-4001-AE5B-8ED2D2585053}">
      <dgm:prSet phldrT="[Text]" custT="1">
        <dgm:style>
          <a:lnRef idx="2">
            <a:schemeClr val="accent1"/>
          </a:lnRef>
          <a:fillRef idx="1">
            <a:schemeClr val="lt1"/>
          </a:fillRef>
          <a:effectRef idx="0">
            <a:schemeClr val="accent1"/>
          </a:effectRef>
          <a:fontRef idx="minor">
            <a:schemeClr val="dk1"/>
          </a:fontRef>
        </dgm:style>
      </dgm:prSet>
      <dgm:spPr/>
      <dgm:t>
        <a:bodyPr/>
        <a:lstStyle/>
        <a:p>
          <a:pPr marL="0" lvl="0" indent="0" algn="l" defTabSz="488950">
            <a:lnSpc>
              <a:spcPct val="90000"/>
            </a:lnSpc>
            <a:spcBef>
              <a:spcPct val="0"/>
            </a:spcBef>
            <a:spcAft>
              <a:spcPct val="35000"/>
            </a:spcAft>
            <a:buNone/>
          </a:pPr>
          <a:r>
            <a:rPr lang="en-US" sz="1600" kern="1200" dirty="0">
              <a:solidFill>
                <a:prstClr val="black"/>
              </a:solidFill>
              <a:latin typeface="Arial" panose="020B0604020202020204"/>
              <a:ea typeface="+mn-ea"/>
              <a:cs typeface="+mn-cs"/>
            </a:rPr>
            <a:t>3. </a:t>
          </a:r>
          <a:r>
            <a:rPr lang="en-US" sz="1100" kern="1200" dirty="0">
              <a:solidFill>
                <a:prstClr val="black"/>
              </a:solidFill>
              <a:latin typeface="Arial" panose="020B0604020202020204"/>
              <a:ea typeface="+mn-ea"/>
              <a:cs typeface="+mn-cs"/>
            </a:rPr>
            <a:t>Click on “Return to the ID Federation Service”</a:t>
          </a:r>
        </a:p>
      </dgm:t>
    </dgm:pt>
    <dgm:pt modelId="{3F1FD22C-14F2-4834-AB0D-81542B47FAA1}" type="parTrans" cxnId="{49024033-8E33-4F45-90CB-9E51EA3FAAA9}">
      <dgm:prSet/>
      <dgm:spPr/>
      <dgm:t>
        <a:bodyPr/>
        <a:lstStyle/>
        <a:p>
          <a:endParaRPr lang="en-US"/>
        </a:p>
      </dgm:t>
    </dgm:pt>
    <dgm:pt modelId="{CAE14A33-2434-4BE2-98EE-3FD167CA061F}" type="sibTrans" cxnId="{49024033-8E33-4F45-90CB-9E51EA3FAAA9}">
      <dgm:prSet/>
      <dgm:spPr/>
      <dgm:t>
        <a:bodyPr/>
        <a:lstStyle/>
        <a:p>
          <a:endParaRPr lang="en-US"/>
        </a:p>
      </dgm:t>
    </dgm:pt>
    <dgm:pt modelId="{890F4954-CCE4-4E47-80BA-94698060FB6A}">
      <dgm:prSet phldrT="[Text]" custT="1">
        <dgm:style>
          <a:lnRef idx="2">
            <a:schemeClr val="accent1"/>
          </a:lnRef>
          <a:fillRef idx="1">
            <a:schemeClr val="lt1"/>
          </a:fillRef>
          <a:effectRef idx="0">
            <a:schemeClr val="accent1"/>
          </a:effectRef>
          <a:fontRef idx="minor">
            <a:schemeClr val="dk1"/>
          </a:fontRef>
        </dgm:style>
      </dgm:prSet>
      <dgm:spPr/>
      <dgm:t>
        <a:bodyPr/>
        <a:lstStyle/>
        <a:p>
          <a:pPr marL="0" lvl="0" indent="0" algn="l" defTabSz="488950">
            <a:lnSpc>
              <a:spcPct val="90000"/>
            </a:lnSpc>
            <a:spcBef>
              <a:spcPct val="0"/>
            </a:spcBef>
            <a:spcAft>
              <a:spcPct val="35000"/>
            </a:spcAft>
            <a:buAutoNum type="arabicPeriod"/>
          </a:pPr>
          <a:r>
            <a:rPr lang="en-US" sz="1600" kern="1200" dirty="0">
              <a:effectLst/>
              <a:latin typeface="Calibri" panose="020F0502020204030204" pitchFamily="34" charset="0"/>
              <a:ea typeface="DengXian" panose="02010600030101010101" pitchFamily="2" charset="-122"/>
              <a:cs typeface="Times New Roman" panose="02020603050405020304" pitchFamily="18" charset="0"/>
            </a:rPr>
            <a:t>4. </a:t>
          </a:r>
          <a:r>
            <a:rPr lang="en-US" sz="1100" kern="1200" dirty="0">
              <a:effectLst/>
              <a:latin typeface="+mj-lt"/>
              <a:ea typeface="DengXian" panose="02010600030101010101" pitchFamily="2" charset="-122"/>
              <a:cs typeface="Times New Roman" panose="02020603050405020304" pitchFamily="18" charset="0"/>
            </a:rPr>
            <a:t>Login with your Capgemini email address and password  just set</a:t>
          </a:r>
          <a:endParaRPr lang="en-US" sz="1100" kern="1200" dirty="0">
            <a:solidFill>
              <a:prstClr val="black"/>
            </a:solidFill>
            <a:latin typeface="+mj-lt"/>
            <a:ea typeface="+mn-ea"/>
            <a:cs typeface="+mn-cs"/>
          </a:endParaRPr>
        </a:p>
      </dgm:t>
    </dgm:pt>
    <dgm:pt modelId="{E3EC08F8-E2A0-4D7C-A42A-DE587288B8FA}" type="parTrans" cxnId="{46062E68-6DFE-4236-8E82-017020601F43}">
      <dgm:prSet/>
      <dgm:spPr/>
      <dgm:t>
        <a:bodyPr/>
        <a:lstStyle/>
        <a:p>
          <a:endParaRPr lang="en-US"/>
        </a:p>
      </dgm:t>
    </dgm:pt>
    <dgm:pt modelId="{07DC6425-106B-4E76-8E59-DF3094069B58}" type="sibTrans" cxnId="{46062E68-6DFE-4236-8E82-017020601F43}">
      <dgm:prSet/>
      <dgm:spPr/>
      <dgm:t>
        <a:bodyPr/>
        <a:lstStyle/>
        <a:p>
          <a:endParaRPr lang="en-US"/>
        </a:p>
      </dgm:t>
    </dgm:pt>
    <dgm:pt modelId="{8A6C4665-011F-4454-81F1-5F2406D21082}" type="pres">
      <dgm:prSet presAssocID="{4B2D7F4B-25E2-4F9D-99A2-CC744F805DDE}" presName="Name0" presStyleCnt="0">
        <dgm:presLayoutVars>
          <dgm:dir/>
          <dgm:resizeHandles val="exact"/>
        </dgm:presLayoutVars>
      </dgm:prSet>
      <dgm:spPr/>
    </dgm:pt>
    <dgm:pt modelId="{CD3DF836-A7A3-406F-9CFC-67722ECC04B7}" type="pres">
      <dgm:prSet presAssocID="{F915650E-6808-425D-8B7D-9E9F93512AE6}" presName="node" presStyleLbl="node1" presStyleIdx="0" presStyleCnt="4">
        <dgm:presLayoutVars>
          <dgm:bulletEnabled val="1"/>
        </dgm:presLayoutVars>
      </dgm:prSet>
      <dgm:spPr/>
    </dgm:pt>
    <dgm:pt modelId="{9A3F7A96-BC59-4841-9B60-ACDCB8F9C730}" type="pres">
      <dgm:prSet presAssocID="{B46DA47B-6ACC-4050-BEBB-EE9B1BF5E1AE}" presName="sibTrans" presStyleLbl="sibTrans2D1" presStyleIdx="0" presStyleCnt="3"/>
      <dgm:spPr/>
    </dgm:pt>
    <dgm:pt modelId="{7719DB66-BC3D-40BF-9C6E-3926BF25B54E}" type="pres">
      <dgm:prSet presAssocID="{B46DA47B-6ACC-4050-BEBB-EE9B1BF5E1AE}" presName="connectorText" presStyleLbl="sibTrans2D1" presStyleIdx="0" presStyleCnt="3"/>
      <dgm:spPr/>
    </dgm:pt>
    <dgm:pt modelId="{7DD3C8FC-3E76-4799-802B-85BE05C93BAA}" type="pres">
      <dgm:prSet presAssocID="{208FB369-DC0E-4FF1-A17B-95B6A98BD3C4}" presName="node" presStyleLbl="node1" presStyleIdx="1" presStyleCnt="4">
        <dgm:presLayoutVars>
          <dgm:bulletEnabled val="1"/>
        </dgm:presLayoutVars>
      </dgm:prSet>
      <dgm:spPr/>
    </dgm:pt>
    <dgm:pt modelId="{469601B9-AA07-4683-9DD4-026C39F0A0D5}" type="pres">
      <dgm:prSet presAssocID="{1CA1B712-BD05-49CD-BBA8-70E87E69AAFA}" presName="sibTrans" presStyleLbl="sibTrans2D1" presStyleIdx="1" presStyleCnt="3"/>
      <dgm:spPr/>
    </dgm:pt>
    <dgm:pt modelId="{7AA68816-46CB-4276-9D5D-E786164EB286}" type="pres">
      <dgm:prSet presAssocID="{1CA1B712-BD05-49CD-BBA8-70E87E69AAFA}" presName="connectorText" presStyleLbl="sibTrans2D1" presStyleIdx="1" presStyleCnt="3"/>
      <dgm:spPr/>
    </dgm:pt>
    <dgm:pt modelId="{35FCEC33-04B9-48CB-B5F1-FB8BB68E00D6}" type="pres">
      <dgm:prSet presAssocID="{36AEC749-253C-4001-AE5B-8ED2D2585053}" presName="node" presStyleLbl="node1" presStyleIdx="2" presStyleCnt="4">
        <dgm:presLayoutVars>
          <dgm:bulletEnabled val="1"/>
        </dgm:presLayoutVars>
      </dgm:prSet>
      <dgm:spPr/>
    </dgm:pt>
    <dgm:pt modelId="{628B10F9-F0A7-44EC-AC0D-08D465F8609E}" type="pres">
      <dgm:prSet presAssocID="{CAE14A33-2434-4BE2-98EE-3FD167CA061F}" presName="sibTrans" presStyleLbl="sibTrans2D1" presStyleIdx="2" presStyleCnt="3"/>
      <dgm:spPr/>
    </dgm:pt>
    <dgm:pt modelId="{332EC465-9F9A-4447-8DE9-184559F691F5}" type="pres">
      <dgm:prSet presAssocID="{CAE14A33-2434-4BE2-98EE-3FD167CA061F}" presName="connectorText" presStyleLbl="sibTrans2D1" presStyleIdx="2" presStyleCnt="3"/>
      <dgm:spPr/>
    </dgm:pt>
    <dgm:pt modelId="{26F5DC1E-B3F4-4552-8A94-54C52407A617}" type="pres">
      <dgm:prSet presAssocID="{890F4954-CCE4-4E47-80BA-94698060FB6A}" presName="node" presStyleLbl="node1" presStyleIdx="3" presStyleCnt="4">
        <dgm:presLayoutVars>
          <dgm:bulletEnabled val="1"/>
        </dgm:presLayoutVars>
      </dgm:prSet>
      <dgm:spPr/>
    </dgm:pt>
  </dgm:ptLst>
  <dgm:cxnLst>
    <dgm:cxn modelId="{D86ED300-8276-4D42-B791-1D804506D4DF}" type="presOf" srcId="{36AEC749-253C-4001-AE5B-8ED2D2585053}" destId="{35FCEC33-04B9-48CB-B5F1-FB8BB68E00D6}" srcOrd="0" destOrd="0" presId="urn:microsoft.com/office/officeart/2005/8/layout/process1"/>
    <dgm:cxn modelId="{861F900F-8B8B-4EE3-942C-C68781DE3F5A}" type="presOf" srcId="{B46DA47B-6ACC-4050-BEBB-EE9B1BF5E1AE}" destId="{9A3F7A96-BC59-4841-9B60-ACDCB8F9C730}" srcOrd="0" destOrd="0" presId="urn:microsoft.com/office/officeart/2005/8/layout/process1"/>
    <dgm:cxn modelId="{C3314224-91A5-45D7-9165-13091C68A20C}" type="presOf" srcId="{B46DA47B-6ACC-4050-BEBB-EE9B1BF5E1AE}" destId="{7719DB66-BC3D-40BF-9C6E-3926BF25B54E}" srcOrd="1" destOrd="0" presId="urn:microsoft.com/office/officeart/2005/8/layout/process1"/>
    <dgm:cxn modelId="{49024033-8E33-4F45-90CB-9E51EA3FAAA9}" srcId="{4B2D7F4B-25E2-4F9D-99A2-CC744F805DDE}" destId="{36AEC749-253C-4001-AE5B-8ED2D2585053}" srcOrd="2" destOrd="0" parTransId="{3F1FD22C-14F2-4834-AB0D-81542B47FAA1}" sibTransId="{CAE14A33-2434-4BE2-98EE-3FD167CA061F}"/>
    <dgm:cxn modelId="{4B9B5D37-55F5-4C45-9E9C-A83A93C7287A}" srcId="{4B2D7F4B-25E2-4F9D-99A2-CC744F805DDE}" destId="{F915650E-6808-425D-8B7D-9E9F93512AE6}" srcOrd="0" destOrd="0" parTransId="{E632A9CF-E8FF-43FD-902B-1B10839C01B0}" sibTransId="{B46DA47B-6ACC-4050-BEBB-EE9B1BF5E1AE}"/>
    <dgm:cxn modelId="{1A41CF41-5BBC-46E6-82CB-09DCB1B5E37F}" type="presOf" srcId="{4B2D7F4B-25E2-4F9D-99A2-CC744F805DDE}" destId="{8A6C4665-011F-4454-81F1-5F2406D21082}" srcOrd="0" destOrd="0" presId="urn:microsoft.com/office/officeart/2005/8/layout/process1"/>
    <dgm:cxn modelId="{676C5D43-2CBF-4B62-B964-0073023241A7}" type="presOf" srcId="{F915650E-6808-425D-8B7D-9E9F93512AE6}" destId="{CD3DF836-A7A3-406F-9CFC-67722ECC04B7}" srcOrd="0" destOrd="0" presId="urn:microsoft.com/office/officeart/2005/8/layout/process1"/>
    <dgm:cxn modelId="{46062E68-6DFE-4236-8E82-017020601F43}" srcId="{4B2D7F4B-25E2-4F9D-99A2-CC744F805DDE}" destId="{890F4954-CCE4-4E47-80BA-94698060FB6A}" srcOrd="3" destOrd="0" parTransId="{E3EC08F8-E2A0-4D7C-A42A-DE587288B8FA}" sibTransId="{07DC6425-106B-4E76-8E59-DF3094069B58}"/>
    <dgm:cxn modelId="{60DEA257-2256-4AF3-9753-9F3794CF5A32}" type="presOf" srcId="{1CA1B712-BD05-49CD-BBA8-70E87E69AAFA}" destId="{7AA68816-46CB-4276-9D5D-E786164EB286}" srcOrd="1" destOrd="0" presId="urn:microsoft.com/office/officeart/2005/8/layout/process1"/>
    <dgm:cxn modelId="{A7C05D7A-29E4-48A3-AB56-ED60DA1046F3}" srcId="{4B2D7F4B-25E2-4F9D-99A2-CC744F805DDE}" destId="{208FB369-DC0E-4FF1-A17B-95B6A98BD3C4}" srcOrd="1" destOrd="0" parTransId="{0FE6E4EA-FD3F-408B-878B-A43F9AE1DEE1}" sibTransId="{1CA1B712-BD05-49CD-BBA8-70E87E69AAFA}"/>
    <dgm:cxn modelId="{18319B9A-9441-4900-894B-9913F356018E}" type="presOf" srcId="{CAE14A33-2434-4BE2-98EE-3FD167CA061F}" destId="{628B10F9-F0A7-44EC-AC0D-08D465F8609E}" srcOrd="0" destOrd="0" presId="urn:microsoft.com/office/officeart/2005/8/layout/process1"/>
    <dgm:cxn modelId="{61937EC4-293B-4C97-9D78-F03A671C3881}" type="presOf" srcId="{1CA1B712-BD05-49CD-BBA8-70E87E69AAFA}" destId="{469601B9-AA07-4683-9DD4-026C39F0A0D5}" srcOrd="0" destOrd="0" presId="urn:microsoft.com/office/officeart/2005/8/layout/process1"/>
    <dgm:cxn modelId="{C97918CD-4176-4768-BB30-4E9350D370D7}" type="presOf" srcId="{208FB369-DC0E-4FF1-A17B-95B6A98BD3C4}" destId="{7DD3C8FC-3E76-4799-802B-85BE05C93BAA}" srcOrd="0" destOrd="0" presId="urn:microsoft.com/office/officeart/2005/8/layout/process1"/>
    <dgm:cxn modelId="{6738D7D0-354A-4288-AD8E-6EF7168CDA03}" type="presOf" srcId="{CAE14A33-2434-4BE2-98EE-3FD167CA061F}" destId="{332EC465-9F9A-4447-8DE9-184559F691F5}" srcOrd="1" destOrd="0" presId="urn:microsoft.com/office/officeart/2005/8/layout/process1"/>
    <dgm:cxn modelId="{458084FC-28F3-4BB4-AA8A-646E7772F5FF}" type="presOf" srcId="{890F4954-CCE4-4E47-80BA-94698060FB6A}" destId="{26F5DC1E-B3F4-4552-8A94-54C52407A617}" srcOrd="0" destOrd="0" presId="urn:microsoft.com/office/officeart/2005/8/layout/process1"/>
    <dgm:cxn modelId="{60C76CAC-E0A3-4BFB-92B9-D93C51B9524E}" type="presParOf" srcId="{8A6C4665-011F-4454-81F1-5F2406D21082}" destId="{CD3DF836-A7A3-406F-9CFC-67722ECC04B7}" srcOrd="0" destOrd="0" presId="urn:microsoft.com/office/officeart/2005/8/layout/process1"/>
    <dgm:cxn modelId="{42DA0704-C1E9-4F5E-B1AB-DA8FE924770C}" type="presParOf" srcId="{8A6C4665-011F-4454-81F1-5F2406D21082}" destId="{9A3F7A96-BC59-4841-9B60-ACDCB8F9C730}" srcOrd="1" destOrd="0" presId="urn:microsoft.com/office/officeart/2005/8/layout/process1"/>
    <dgm:cxn modelId="{2E594D09-5412-42AA-931D-B42D5F5202ED}" type="presParOf" srcId="{9A3F7A96-BC59-4841-9B60-ACDCB8F9C730}" destId="{7719DB66-BC3D-40BF-9C6E-3926BF25B54E}" srcOrd="0" destOrd="0" presId="urn:microsoft.com/office/officeart/2005/8/layout/process1"/>
    <dgm:cxn modelId="{64C9E816-AFEB-4114-8E10-0AC77290BC40}" type="presParOf" srcId="{8A6C4665-011F-4454-81F1-5F2406D21082}" destId="{7DD3C8FC-3E76-4799-802B-85BE05C93BAA}" srcOrd="2" destOrd="0" presId="urn:microsoft.com/office/officeart/2005/8/layout/process1"/>
    <dgm:cxn modelId="{32E81980-6CB8-4A2E-ADCF-EF41D796140D}" type="presParOf" srcId="{8A6C4665-011F-4454-81F1-5F2406D21082}" destId="{469601B9-AA07-4683-9DD4-026C39F0A0D5}" srcOrd="3" destOrd="0" presId="urn:microsoft.com/office/officeart/2005/8/layout/process1"/>
    <dgm:cxn modelId="{AD8A36E2-81D1-4D44-8B6F-FF736B98B548}" type="presParOf" srcId="{469601B9-AA07-4683-9DD4-026C39F0A0D5}" destId="{7AA68816-46CB-4276-9D5D-E786164EB286}" srcOrd="0" destOrd="0" presId="urn:microsoft.com/office/officeart/2005/8/layout/process1"/>
    <dgm:cxn modelId="{6D896582-FB0B-4A52-A71F-E5C28802B3B7}" type="presParOf" srcId="{8A6C4665-011F-4454-81F1-5F2406D21082}" destId="{35FCEC33-04B9-48CB-B5F1-FB8BB68E00D6}" srcOrd="4" destOrd="0" presId="urn:microsoft.com/office/officeart/2005/8/layout/process1"/>
    <dgm:cxn modelId="{5B03D694-4E7C-4178-8DCB-E915E07A052C}" type="presParOf" srcId="{8A6C4665-011F-4454-81F1-5F2406D21082}" destId="{628B10F9-F0A7-44EC-AC0D-08D465F8609E}" srcOrd="5" destOrd="0" presId="urn:microsoft.com/office/officeart/2005/8/layout/process1"/>
    <dgm:cxn modelId="{74DEBE00-8C46-4186-90C7-9B249CEEFF94}" type="presParOf" srcId="{628B10F9-F0A7-44EC-AC0D-08D465F8609E}" destId="{332EC465-9F9A-4447-8DE9-184559F691F5}" srcOrd="0" destOrd="0" presId="urn:microsoft.com/office/officeart/2005/8/layout/process1"/>
    <dgm:cxn modelId="{D937854F-67F8-4C00-A38B-8E6A99A00B15}" type="presParOf" srcId="{8A6C4665-011F-4454-81F1-5F2406D21082}" destId="{26F5DC1E-B3F4-4552-8A94-54C52407A617}"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3490462-BA8B-4A11-8DDD-7244CE2CD59A}" type="doc">
      <dgm:prSet loTypeId="urn:microsoft.com/office/officeart/2005/8/layout/process1" loCatId="process" qsTypeId="urn:microsoft.com/office/officeart/2005/8/quickstyle/simple1" qsCatId="simple" csTypeId="urn:microsoft.com/office/officeart/2005/8/colors/accent1_2" csCatId="accent1" phldr="1"/>
      <dgm:spPr/>
    </dgm:pt>
    <dgm:pt modelId="{17B637B6-4439-475D-80D4-846B5CCC9995}">
      <dgm:prSet phldrT="[Text]" custT="1">
        <dgm:style>
          <a:lnRef idx="2">
            <a:schemeClr val="accent1"/>
          </a:lnRef>
          <a:fillRef idx="1">
            <a:schemeClr val="lt1"/>
          </a:fillRef>
          <a:effectRef idx="0">
            <a:schemeClr val="accent1"/>
          </a:effectRef>
          <a:fontRef idx="minor">
            <a:schemeClr val="dk1"/>
          </a:fontRef>
        </dgm:style>
      </dgm:prSet>
      <dgm:spPr/>
      <dgm:t>
        <a:bodyPr/>
        <a:lstStyle/>
        <a:p>
          <a:pPr algn="l">
            <a:buAutoNum type="arabicPeriod"/>
          </a:pPr>
          <a:r>
            <a:rPr lang="en-US" sz="1600" kern="1200" dirty="0">
              <a:solidFill>
                <a:prstClr val="black"/>
              </a:solidFill>
              <a:latin typeface="Arial" panose="020B0604020202020204"/>
              <a:ea typeface="+mn-ea"/>
              <a:cs typeface="+mn-cs"/>
            </a:rPr>
            <a:t>6. </a:t>
          </a:r>
          <a:r>
            <a:rPr lang="en-US" sz="1100" kern="1200" dirty="0">
              <a:solidFill>
                <a:prstClr val="black"/>
              </a:solidFill>
              <a:latin typeface="Arial" panose="020B0604020202020204"/>
              <a:ea typeface="+mn-ea"/>
              <a:cs typeface="+mn-cs"/>
            </a:rPr>
            <a:t>Click on icon MCC_SAP_Dev02</a:t>
          </a:r>
        </a:p>
      </dgm:t>
    </dgm:pt>
    <dgm:pt modelId="{68A45734-2E14-4514-BD0E-2D60BFD7F52E}" type="parTrans" cxnId="{1D097707-377E-47B7-B81F-433A5A17BFBD}">
      <dgm:prSet/>
      <dgm:spPr/>
      <dgm:t>
        <a:bodyPr/>
        <a:lstStyle/>
        <a:p>
          <a:endParaRPr lang="en-US"/>
        </a:p>
      </dgm:t>
    </dgm:pt>
    <dgm:pt modelId="{FE072170-DB8D-4908-AC1A-AF34FFC7BC90}" type="sibTrans" cxnId="{1D097707-377E-47B7-B81F-433A5A17BFBD}">
      <dgm:prSet/>
      <dgm:spPr/>
      <dgm:t>
        <a:bodyPr/>
        <a:lstStyle/>
        <a:p>
          <a:endParaRPr lang="en-US"/>
        </a:p>
      </dgm:t>
    </dgm:pt>
    <dgm:pt modelId="{80804CB4-7430-41FC-A995-A984A5511766}">
      <dgm:prSet phldrT="[Text]" custT="1">
        <dgm:style>
          <a:lnRef idx="2">
            <a:schemeClr val="accent2"/>
          </a:lnRef>
          <a:fillRef idx="1">
            <a:schemeClr val="lt1"/>
          </a:fillRef>
          <a:effectRef idx="0">
            <a:schemeClr val="accent2"/>
          </a:effectRef>
          <a:fontRef idx="minor">
            <a:schemeClr val="dk1"/>
          </a:fontRef>
        </dgm:style>
      </dgm:prSet>
      <dgm:spPr/>
      <dgm:t>
        <a:bodyPr/>
        <a:lstStyle/>
        <a:p>
          <a:pPr algn="l">
            <a:buFontTx/>
            <a:buAutoNum type="arabicPeriod"/>
          </a:pPr>
          <a:r>
            <a:rPr lang="en-US" sz="1600" kern="1200" dirty="0">
              <a:solidFill>
                <a:prstClr val="black"/>
              </a:solidFill>
              <a:latin typeface="Arial" panose="020B0604020202020204"/>
              <a:ea typeface="+mn-ea"/>
              <a:cs typeface="+mn-cs"/>
            </a:rPr>
            <a:t>7. </a:t>
          </a:r>
          <a:r>
            <a:rPr lang="en-US" sz="1100" kern="1200" dirty="0">
              <a:solidFill>
                <a:prstClr val="black"/>
              </a:solidFill>
              <a:latin typeface="Arial" panose="020B0604020202020204"/>
              <a:ea typeface="+mn-ea"/>
              <a:cs typeface="+mn-cs"/>
            </a:rPr>
            <a:t>Click on app icon, like SAP GUI –SAP Logon 64</a:t>
          </a:r>
        </a:p>
      </dgm:t>
    </dgm:pt>
    <dgm:pt modelId="{02897537-7A2D-40B2-9243-EDAAC1A0F368}" type="parTrans" cxnId="{7C3D0803-803A-4B31-9511-F1D74680E9AD}">
      <dgm:prSet/>
      <dgm:spPr/>
      <dgm:t>
        <a:bodyPr/>
        <a:lstStyle/>
        <a:p>
          <a:endParaRPr lang="en-US"/>
        </a:p>
      </dgm:t>
    </dgm:pt>
    <dgm:pt modelId="{781548F5-A116-41BC-A9A6-A6A994E33485}" type="sibTrans" cxnId="{7C3D0803-803A-4B31-9511-F1D74680E9AD}">
      <dgm:prSet/>
      <dgm:spPr/>
      <dgm:t>
        <a:bodyPr/>
        <a:lstStyle/>
        <a:p>
          <a:endParaRPr lang="en-US"/>
        </a:p>
      </dgm:t>
    </dgm:pt>
    <dgm:pt modelId="{1954985C-6686-4D61-8E93-F77BE106FF50}">
      <dgm:prSet phldrT="[Text]" custT="1">
        <dgm:style>
          <a:lnRef idx="2">
            <a:schemeClr val="accent1"/>
          </a:lnRef>
          <a:fillRef idx="1">
            <a:schemeClr val="lt1"/>
          </a:fillRef>
          <a:effectRef idx="0">
            <a:schemeClr val="accent1"/>
          </a:effectRef>
          <a:fontRef idx="minor">
            <a:schemeClr val="dk1"/>
          </a:fontRef>
        </dgm:style>
      </dgm:prSet>
      <dgm:spPr/>
      <dgm:t>
        <a:bodyPr/>
        <a:lstStyle/>
        <a:p>
          <a:pPr marL="0" lvl="0" indent="0" algn="l" defTabSz="488950">
            <a:lnSpc>
              <a:spcPct val="90000"/>
            </a:lnSpc>
            <a:spcBef>
              <a:spcPct val="0"/>
            </a:spcBef>
            <a:spcAft>
              <a:spcPct val="35000"/>
            </a:spcAft>
            <a:buFontTx/>
            <a:buNone/>
          </a:pPr>
          <a:r>
            <a:rPr lang="en-US" sz="1600" kern="1200" dirty="0">
              <a:solidFill>
                <a:prstClr val="black"/>
              </a:solidFill>
              <a:latin typeface="Arial" panose="020B0604020202020204"/>
              <a:ea typeface="+mn-ea"/>
              <a:cs typeface="+mn-cs"/>
            </a:rPr>
            <a:t>8. </a:t>
          </a:r>
          <a:r>
            <a:rPr lang="en-US" sz="1100" kern="1200" dirty="0">
              <a:solidFill>
                <a:prstClr val="black"/>
              </a:solidFill>
              <a:latin typeface="Arial" panose="020B0604020202020204"/>
              <a:ea typeface="+mn-ea"/>
              <a:cs typeface="+mn-cs"/>
            </a:rPr>
            <a:t>Give it a few seconds, and the apps will be ready to use</a:t>
          </a:r>
        </a:p>
      </dgm:t>
    </dgm:pt>
    <dgm:pt modelId="{BADC8897-B81B-44B6-AD4A-33A369E1433C}" type="parTrans" cxnId="{542BD3E9-5BFB-4E4F-ADE6-F0499DBF383B}">
      <dgm:prSet/>
      <dgm:spPr/>
      <dgm:t>
        <a:bodyPr/>
        <a:lstStyle/>
        <a:p>
          <a:endParaRPr lang="en-US"/>
        </a:p>
      </dgm:t>
    </dgm:pt>
    <dgm:pt modelId="{8A88F8C1-F915-4EFC-846F-EE860D27ED78}" type="sibTrans" cxnId="{542BD3E9-5BFB-4E4F-ADE6-F0499DBF383B}">
      <dgm:prSet/>
      <dgm:spPr/>
      <dgm:t>
        <a:bodyPr/>
        <a:lstStyle/>
        <a:p>
          <a:endParaRPr lang="en-US"/>
        </a:p>
      </dgm:t>
    </dgm:pt>
    <dgm:pt modelId="{8F66B885-17B2-4705-A1AC-6FFA14E42C06}">
      <dgm:prSet phldrT="[Text]" custT="1">
        <dgm:style>
          <a:lnRef idx="2">
            <a:schemeClr val="accent1"/>
          </a:lnRef>
          <a:fillRef idx="1">
            <a:schemeClr val="lt1"/>
          </a:fillRef>
          <a:effectRef idx="0">
            <a:schemeClr val="accent1"/>
          </a:effectRef>
          <a:fontRef idx="minor">
            <a:schemeClr val="dk1"/>
          </a:fontRef>
        </dgm:style>
      </dgm:prSet>
      <dgm:spPr/>
      <dgm:t>
        <a:bodyPr/>
        <a:lstStyle/>
        <a:p>
          <a:pPr algn="l">
            <a:buFontTx/>
            <a:buAutoNum type="arabicPeriod"/>
          </a:pPr>
          <a:r>
            <a:rPr lang="en-US" sz="1600" kern="1200" dirty="0">
              <a:effectLst/>
              <a:latin typeface="+mj-lt"/>
              <a:ea typeface="DengXian" panose="02010600030101010101" pitchFamily="2" charset="-122"/>
              <a:cs typeface="Times New Roman" panose="02020603050405020304" pitchFamily="18" charset="0"/>
            </a:rPr>
            <a:t>5. </a:t>
          </a:r>
          <a:r>
            <a:rPr lang="en-US" sz="1100" kern="1200" dirty="0">
              <a:solidFill>
                <a:prstClr val="black"/>
              </a:solidFill>
              <a:latin typeface="Arial" panose="020B0604020202020204"/>
              <a:ea typeface="+mn-ea"/>
              <a:cs typeface="+mn-cs"/>
            </a:rPr>
            <a:t>One-time password will be sent to your Capgemini mailbox, fill it in the window</a:t>
          </a:r>
        </a:p>
      </dgm:t>
    </dgm:pt>
    <dgm:pt modelId="{3BD0EF03-C95B-4D48-93F0-5F86F1510980}" type="parTrans" cxnId="{16A07063-AF0C-4EEC-ABA7-2D33EBE532D8}">
      <dgm:prSet/>
      <dgm:spPr/>
      <dgm:t>
        <a:bodyPr/>
        <a:lstStyle/>
        <a:p>
          <a:endParaRPr lang="en-US"/>
        </a:p>
      </dgm:t>
    </dgm:pt>
    <dgm:pt modelId="{19DF2BFE-77BB-4B61-9195-16B58A93394A}" type="sibTrans" cxnId="{16A07063-AF0C-4EEC-ABA7-2D33EBE532D8}">
      <dgm:prSet/>
      <dgm:spPr/>
      <dgm:t>
        <a:bodyPr/>
        <a:lstStyle/>
        <a:p>
          <a:endParaRPr lang="en-US"/>
        </a:p>
      </dgm:t>
    </dgm:pt>
    <dgm:pt modelId="{574A43BE-B247-474B-A1AA-710D4B6994C4}" type="pres">
      <dgm:prSet presAssocID="{03490462-BA8B-4A11-8DDD-7244CE2CD59A}" presName="Name0" presStyleCnt="0">
        <dgm:presLayoutVars>
          <dgm:dir/>
          <dgm:resizeHandles val="exact"/>
        </dgm:presLayoutVars>
      </dgm:prSet>
      <dgm:spPr/>
    </dgm:pt>
    <dgm:pt modelId="{06B069E8-78C3-4607-BB37-878F5C630877}" type="pres">
      <dgm:prSet presAssocID="{8F66B885-17B2-4705-A1AC-6FFA14E42C06}" presName="node" presStyleLbl="node1" presStyleIdx="0" presStyleCnt="4">
        <dgm:presLayoutVars>
          <dgm:bulletEnabled val="1"/>
        </dgm:presLayoutVars>
      </dgm:prSet>
      <dgm:spPr/>
    </dgm:pt>
    <dgm:pt modelId="{D42A22AB-A633-4983-B772-571523C7F8ED}" type="pres">
      <dgm:prSet presAssocID="{19DF2BFE-77BB-4B61-9195-16B58A93394A}" presName="sibTrans" presStyleLbl="sibTrans2D1" presStyleIdx="0" presStyleCnt="3"/>
      <dgm:spPr/>
    </dgm:pt>
    <dgm:pt modelId="{7E72D7EA-C2CF-4EC1-BC92-10586E9854F2}" type="pres">
      <dgm:prSet presAssocID="{19DF2BFE-77BB-4B61-9195-16B58A93394A}" presName="connectorText" presStyleLbl="sibTrans2D1" presStyleIdx="0" presStyleCnt="3"/>
      <dgm:spPr/>
    </dgm:pt>
    <dgm:pt modelId="{37AF5657-4995-4B04-BC6A-5CA3E6753F20}" type="pres">
      <dgm:prSet presAssocID="{17B637B6-4439-475D-80D4-846B5CCC9995}" presName="node" presStyleLbl="node1" presStyleIdx="1" presStyleCnt="4">
        <dgm:presLayoutVars>
          <dgm:bulletEnabled val="1"/>
        </dgm:presLayoutVars>
      </dgm:prSet>
      <dgm:spPr/>
    </dgm:pt>
    <dgm:pt modelId="{9B6D9775-88A1-401F-B3AC-DF5E082D1E0E}" type="pres">
      <dgm:prSet presAssocID="{FE072170-DB8D-4908-AC1A-AF34FFC7BC90}" presName="sibTrans" presStyleLbl="sibTrans2D1" presStyleIdx="1" presStyleCnt="3"/>
      <dgm:spPr/>
    </dgm:pt>
    <dgm:pt modelId="{965C315A-02CD-401C-A972-F9901D3D087C}" type="pres">
      <dgm:prSet presAssocID="{FE072170-DB8D-4908-AC1A-AF34FFC7BC90}" presName="connectorText" presStyleLbl="sibTrans2D1" presStyleIdx="1" presStyleCnt="3"/>
      <dgm:spPr/>
    </dgm:pt>
    <dgm:pt modelId="{69037734-CBF0-402A-BECE-D5A3D1094142}" type="pres">
      <dgm:prSet presAssocID="{80804CB4-7430-41FC-A995-A984A5511766}" presName="node" presStyleLbl="node1" presStyleIdx="2" presStyleCnt="4">
        <dgm:presLayoutVars>
          <dgm:bulletEnabled val="1"/>
        </dgm:presLayoutVars>
      </dgm:prSet>
      <dgm:spPr/>
    </dgm:pt>
    <dgm:pt modelId="{5D83ECC5-C3F3-493B-9F44-FF11889E6BE7}" type="pres">
      <dgm:prSet presAssocID="{781548F5-A116-41BC-A9A6-A6A994E33485}" presName="sibTrans" presStyleLbl="sibTrans2D1" presStyleIdx="2" presStyleCnt="3"/>
      <dgm:spPr/>
    </dgm:pt>
    <dgm:pt modelId="{3B095F4E-1BBE-4519-AEB2-55628403241C}" type="pres">
      <dgm:prSet presAssocID="{781548F5-A116-41BC-A9A6-A6A994E33485}" presName="connectorText" presStyleLbl="sibTrans2D1" presStyleIdx="2" presStyleCnt="3"/>
      <dgm:spPr/>
    </dgm:pt>
    <dgm:pt modelId="{DF97A1B1-966F-4FF5-A95B-03E14BD90A60}" type="pres">
      <dgm:prSet presAssocID="{1954985C-6686-4D61-8E93-F77BE106FF50}" presName="node" presStyleLbl="node1" presStyleIdx="3" presStyleCnt="4">
        <dgm:presLayoutVars>
          <dgm:bulletEnabled val="1"/>
        </dgm:presLayoutVars>
      </dgm:prSet>
      <dgm:spPr/>
    </dgm:pt>
  </dgm:ptLst>
  <dgm:cxnLst>
    <dgm:cxn modelId="{7C3D0803-803A-4B31-9511-F1D74680E9AD}" srcId="{03490462-BA8B-4A11-8DDD-7244CE2CD59A}" destId="{80804CB4-7430-41FC-A995-A984A5511766}" srcOrd="2" destOrd="0" parTransId="{02897537-7A2D-40B2-9243-EDAAC1A0F368}" sibTransId="{781548F5-A116-41BC-A9A6-A6A994E33485}"/>
    <dgm:cxn modelId="{1D097707-377E-47B7-B81F-433A5A17BFBD}" srcId="{03490462-BA8B-4A11-8DDD-7244CE2CD59A}" destId="{17B637B6-4439-475D-80D4-846B5CCC9995}" srcOrd="1" destOrd="0" parTransId="{68A45734-2E14-4514-BD0E-2D60BFD7F52E}" sibTransId="{FE072170-DB8D-4908-AC1A-AF34FFC7BC90}"/>
    <dgm:cxn modelId="{45514D38-AF87-4F08-A7A0-CD5BC5CABDAF}" type="presOf" srcId="{8F66B885-17B2-4705-A1AC-6FFA14E42C06}" destId="{06B069E8-78C3-4607-BB37-878F5C630877}" srcOrd="0" destOrd="0" presId="urn:microsoft.com/office/officeart/2005/8/layout/process1"/>
    <dgm:cxn modelId="{0636805E-E167-4220-971B-56D1FC82C7A6}" type="presOf" srcId="{17B637B6-4439-475D-80D4-846B5CCC9995}" destId="{37AF5657-4995-4B04-BC6A-5CA3E6753F20}" srcOrd="0" destOrd="0" presId="urn:microsoft.com/office/officeart/2005/8/layout/process1"/>
    <dgm:cxn modelId="{74666262-A2F5-4CD4-915E-106929740788}" type="presOf" srcId="{80804CB4-7430-41FC-A995-A984A5511766}" destId="{69037734-CBF0-402A-BECE-D5A3D1094142}" srcOrd="0" destOrd="0" presId="urn:microsoft.com/office/officeart/2005/8/layout/process1"/>
    <dgm:cxn modelId="{16A07063-AF0C-4EEC-ABA7-2D33EBE532D8}" srcId="{03490462-BA8B-4A11-8DDD-7244CE2CD59A}" destId="{8F66B885-17B2-4705-A1AC-6FFA14E42C06}" srcOrd="0" destOrd="0" parTransId="{3BD0EF03-C95B-4D48-93F0-5F86F1510980}" sibTransId="{19DF2BFE-77BB-4B61-9195-16B58A93394A}"/>
    <dgm:cxn modelId="{4E94FB63-190D-43E9-A9A3-9837C0A403A3}" type="presOf" srcId="{781548F5-A116-41BC-A9A6-A6A994E33485}" destId="{5D83ECC5-C3F3-493B-9F44-FF11889E6BE7}" srcOrd="0" destOrd="0" presId="urn:microsoft.com/office/officeart/2005/8/layout/process1"/>
    <dgm:cxn modelId="{BF8E8158-550D-41F0-8063-4C29BE28B3AF}" type="presOf" srcId="{19DF2BFE-77BB-4B61-9195-16B58A93394A}" destId="{7E72D7EA-C2CF-4EC1-BC92-10586E9854F2}" srcOrd="1" destOrd="0" presId="urn:microsoft.com/office/officeart/2005/8/layout/process1"/>
    <dgm:cxn modelId="{AB742D7A-6B0D-4573-B64E-B5482D2C6247}" type="presOf" srcId="{FE072170-DB8D-4908-AC1A-AF34FFC7BC90}" destId="{9B6D9775-88A1-401F-B3AC-DF5E082D1E0E}" srcOrd="0" destOrd="0" presId="urn:microsoft.com/office/officeart/2005/8/layout/process1"/>
    <dgm:cxn modelId="{ACACABA8-3667-4088-890E-46CA1B06E132}" type="presOf" srcId="{1954985C-6686-4D61-8E93-F77BE106FF50}" destId="{DF97A1B1-966F-4FF5-A95B-03E14BD90A60}" srcOrd="0" destOrd="0" presId="urn:microsoft.com/office/officeart/2005/8/layout/process1"/>
    <dgm:cxn modelId="{890D90CC-A9A0-403A-9D39-43376FDE1A94}" type="presOf" srcId="{FE072170-DB8D-4908-AC1A-AF34FFC7BC90}" destId="{965C315A-02CD-401C-A972-F9901D3D087C}" srcOrd="1" destOrd="0" presId="urn:microsoft.com/office/officeart/2005/8/layout/process1"/>
    <dgm:cxn modelId="{10BFB8D8-CCE7-4AC1-AE41-4406ECD384E7}" type="presOf" srcId="{19DF2BFE-77BB-4B61-9195-16B58A93394A}" destId="{D42A22AB-A633-4983-B772-571523C7F8ED}" srcOrd="0" destOrd="0" presId="urn:microsoft.com/office/officeart/2005/8/layout/process1"/>
    <dgm:cxn modelId="{F82CE8DB-ADDC-4646-A323-1AFE9CFBDDFD}" type="presOf" srcId="{03490462-BA8B-4A11-8DDD-7244CE2CD59A}" destId="{574A43BE-B247-474B-A1AA-710D4B6994C4}" srcOrd="0" destOrd="0" presId="urn:microsoft.com/office/officeart/2005/8/layout/process1"/>
    <dgm:cxn modelId="{44F237E7-962D-43B4-A1E2-3B666CE57EA9}" type="presOf" srcId="{781548F5-A116-41BC-A9A6-A6A994E33485}" destId="{3B095F4E-1BBE-4519-AEB2-55628403241C}" srcOrd="1" destOrd="0" presId="urn:microsoft.com/office/officeart/2005/8/layout/process1"/>
    <dgm:cxn modelId="{542BD3E9-5BFB-4E4F-ADE6-F0499DBF383B}" srcId="{03490462-BA8B-4A11-8DDD-7244CE2CD59A}" destId="{1954985C-6686-4D61-8E93-F77BE106FF50}" srcOrd="3" destOrd="0" parTransId="{BADC8897-B81B-44B6-AD4A-33A369E1433C}" sibTransId="{8A88F8C1-F915-4EFC-846F-EE860D27ED78}"/>
    <dgm:cxn modelId="{C6B64EEC-ACDC-4DE7-85B8-5EF9C17197E0}" type="presParOf" srcId="{574A43BE-B247-474B-A1AA-710D4B6994C4}" destId="{06B069E8-78C3-4607-BB37-878F5C630877}" srcOrd="0" destOrd="0" presId="urn:microsoft.com/office/officeart/2005/8/layout/process1"/>
    <dgm:cxn modelId="{66AC8B27-9071-4562-88C9-853C20540292}" type="presParOf" srcId="{574A43BE-B247-474B-A1AA-710D4B6994C4}" destId="{D42A22AB-A633-4983-B772-571523C7F8ED}" srcOrd="1" destOrd="0" presId="urn:microsoft.com/office/officeart/2005/8/layout/process1"/>
    <dgm:cxn modelId="{ACE936FA-4337-4D0E-A65C-13524293E46A}" type="presParOf" srcId="{D42A22AB-A633-4983-B772-571523C7F8ED}" destId="{7E72D7EA-C2CF-4EC1-BC92-10586E9854F2}" srcOrd="0" destOrd="0" presId="urn:microsoft.com/office/officeart/2005/8/layout/process1"/>
    <dgm:cxn modelId="{8E757990-4A3F-4C60-936F-E02F8E4660D1}" type="presParOf" srcId="{574A43BE-B247-474B-A1AA-710D4B6994C4}" destId="{37AF5657-4995-4B04-BC6A-5CA3E6753F20}" srcOrd="2" destOrd="0" presId="urn:microsoft.com/office/officeart/2005/8/layout/process1"/>
    <dgm:cxn modelId="{857E285F-9D92-4AA8-90BF-F0E242A6D8C1}" type="presParOf" srcId="{574A43BE-B247-474B-A1AA-710D4B6994C4}" destId="{9B6D9775-88A1-401F-B3AC-DF5E082D1E0E}" srcOrd="3" destOrd="0" presId="urn:microsoft.com/office/officeart/2005/8/layout/process1"/>
    <dgm:cxn modelId="{0CD19A3B-BEDF-48AE-A6A9-DF2F7AAF9F60}" type="presParOf" srcId="{9B6D9775-88A1-401F-B3AC-DF5E082D1E0E}" destId="{965C315A-02CD-401C-A972-F9901D3D087C}" srcOrd="0" destOrd="0" presId="urn:microsoft.com/office/officeart/2005/8/layout/process1"/>
    <dgm:cxn modelId="{DB35E3FF-6BCA-4BB9-84F8-F9599CCE584B}" type="presParOf" srcId="{574A43BE-B247-474B-A1AA-710D4B6994C4}" destId="{69037734-CBF0-402A-BECE-D5A3D1094142}" srcOrd="4" destOrd="0" presId="urn:microsoft.com/office/officeart/2005/8/layout/process1"/>
    <dgm:cxn modelId="{BB1013B0-3D93-4D86-A638-4BB7A23BDE20}" type="presParOf" srcId="{574A43BE-B247-474B-A1AA-710D4B6994C4}" destId="{5D83ECC5-C3F3-493B-9F44-FF11889E6BE7}" srcOrd="5" destOrd="0" presId="urn:microsoft.com/office/officeart/2005/8/layout/process1"/>
    <dgm:cxn modelId="{E9EDAFD7-B1E6-4ADC-8CAC-BC727B2D4915}" type="presParOf" srcId="{5D83ECC5-C3F3-493B-9F44-FF11889E6BE7}" destId="{3B095F4E-1BBE-4519-AEB2-55628403241C}" srcOrd="0" destOrd="0" presId="urn:microsoft.com/office/officeart/2005/8/layout/process1"/>
    <dgm:cxn modelId="{68B8F8CC-87D1-4C8B-9740-2BB40BD8FB3E}" type="presParOf" srcId="{574A43BE-B247-474B-A1AA-710D4B6994C4}" destId="{DF97A1B1-966F-4FF5-A95B-03E14BD90A60}" srcOrd="6"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013121-8D1F-4AC3-B9A3-7CDE76CE9D25}">
      <dsp:nvSpPr>
        <dsp:cNvPr id="0" name=""/>
        <dsp:cNvSpPr/>
      </dsp:nvSpPr>
      <dsp:spPr>
        <a:xfrm>
          <a:off x="0" y="610"/>
          <a:ext cx="11327240" cy="14293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FAABE9-8E11-432F-86F6-A60545A25CA8}">
      <dsp:nvSpPr>
        <dsp:cNvPr id="0" name=""/>
        <dsp:cNvSpPr/>
      </dsp:nvSpPr>
      <dsp:spPr>
        <a:xfrm>
          <a:off x="432383" y="322218"/>
          <a:ext cx="786152" cy="7861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5871FD9-31FB-41DC-9CE3-060FB0D2C5D7}">
      <dsp:nvSpPr>
        <dsp:cNvPr id="0" name=""/>
        <dsp:cNvSpPr/>
      </dsp:nvSpPr>
      <dsp:spPr>
        <a:xfrm>
          <a:off x="1650919" y="610"/>
          <a:ext cx="9676320" cy="14293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275" tIns="151275" rIns="151275" bIns="151275" numCol="1" spcCol="1270" anchor="ctr" anchorCtr="0">
          <a:noAutofit/>
        </a:bodyPr>
        <a:lstStyle/>
        <a:p>
          <a:pPr marL="0" lvl="0" indent="0" algn="l" defTabSz="1111250">
            <a:lnSpc>
              <a:spcPct val="100000"/>
            </a:lnSpc>
            <a:spcBef>
              <a:spcPct val="0"/>
            </a:spcBef>
            <a:spcAft>
              <a:spcPct val="35000"/>
            </a:spcAft>
            <a:buNone/>
          </a:pPr>
          <a:r>
            <a:rPr lang="en-IN" sz="2500" kern="1200" dirty="0"/>
            <a:t>We currently have multiple active distribution lists. Detailed list is in the next slide</a:t>
          </a:r>
          <a:endParaRPr lang="en-US" sz="2500" kern="1200" dirty="0"/>
        </a:p>
      </dsp:txBody>
      <dsp:txXfrm>
        <a:off x="1650919" y="610"/>
        <a:ext cx="9676320" cy="1429367"/>
      </dsp:txXfrm>
    </dsp:sp>
    <dsp:sp modelId="{C06A7C0B-EA4C-44FC-AB89-D5E2AE264971}">
      <dsp:nvSpPr>
        <dsp:cNvPr id="0" name=""/>
        <dsp:cNvSpPr/>
      </dsp:nvSpPr>
      <dsp:spPr>
        <a:xfrm>
          <a:off x="0" y="1787320"/>
          <a:ext cx="11327240" cy="14293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B573E8-9EA1-421F-BD59-4F81C8D4A996}">
      <dsp:nvSpPr>
        <dsp:cNvPr id="0" name=""/>
        <dsp:cNvSpPr/>
      </dsp:nvSpPr>
      <dsp:spPr>
        <a:xfrm>
          <a:off x="432383" y="2108927"/>
          <a:ext cx="786152" cy="7861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D69D7E-7111-4B65-8068-B9C9DA5B4FCF}">
      <dsp:nvSpPr>
        <dsp:cNvPr id="0" name=""/>
        <dsp:cNvSpPr/>
      </dsp:nvSpPr>
      <dsp:spPr>
        <a:xfrm>
          <a:off x="1650919" y="1787320"/>
          <a:ext cx="9676320" cy="14293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275" tIns="151275" rIns="151275" bIns="151275" numCol="1" spcCol="1270" anchor="ctr" anchorCtr="0">
          <a:noAutofit/>
        </a:bodyPr>
        <a:lstStyle/>
        <a:p>
          <a:pPr marL="0" lvl="0" indent="0" algn="l" defTabSz="1111250">
            <a:lnSpc>
              <a:spcPct val="100000"/>
            </a:lnSpc>
            <a:spcBef>
              <a:spcPct val="0"/>
            </a:spcBef>
            <a:spcAft>
              <a:spcPct val="35000"/>
            </a:spcAft>
            <a:buNone/>
          </a:pPr>
          <a:r>
            <a:rPr lang="en-IN" sz="2500" kern="1200" dirty="0"/>
            <a:t>If any member is to be added to the DL’s, kindly drop a mail to </a:t>
          </a:r>
          <a:r>
            <a:rPr lang="en-IN" sz="2500" u="sng" kern="1200" dirty="0">
              <a:latin typeface="Arial" panose="020B0604020202020204"/>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DL JP MCG </a:t>
          </a:r>
          <a:r>
            <a:rPr lang="en-IN" sz="2500" u="sng" kern="1200" dirty="0" err="1">
              <a:latin typeface="Arial" panose="020B0604020202020204"/>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MoneG</a:t>
          </a:r>
          <a:r>
            <a:rPr lang="en-IN" sz="2500" u="sng" kern="1200" dirty="0">
              <a:latin typeface="Arial" panose="020B0604020202020204"/>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 PMO Team</a:t>
          </a:r>
          <a:r>
            <a:rPr kumimoji="1" lang="en-IN" sz="2500" u="none" kern="1200" dirty="0"/>
            <a:t>.</a:t>
          </a:r>
          <a:endParaRPr lang="en-US" sz="2500" kern="1200" dirty="0"/>
        </a:p>
      </dsp:txBody>
      <dsp:txXfrm>
        <a:off x="1650919" y="1787320"/>
        <a:ext cx="9676320" cy="1429367"/>
      </dsp:txXfrm>
    </dsp:sp>
    <dsp:sp modelId="{52F7CEF4-653B-4248-83A8-216FE882639B}">
      <dsp:nvSpPr>
        <dsp:cNvPr id="0" name=""/>
        <dsp:cNvSpPr/>
      </dsp:nvSpPr>
      <dsp:spPr>
        <a:xfrm>
          <a:off x="0" y="3574029"/>
          <a:ext cx="11327240" cy="14293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40A5FB-C0FD-4FFB-92DC-FCA3962B1CDA}">
      <dsp:nvSpPr>
        <dsp:cNvPr id="0" name=""/>
        <dsp:cNvSpPr/>
      </dsp:nvSpPr>
      <dsp:spPr>
        <a:xfrm>
          <a:off x="432383" y="3895637"/>
          <a:ext cx="786152" cy="78615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6F9F93B-B2EF-49C4-B786-DDABFC6EE699}">
      <dsp:nvSpPr>
        <dsp:cNvPr id="0" name=""/>
        <dsp:cNvSpPr/>
      </dsp:nvSpPr>
      <dsp:spPr>
        <a:xfrm>
          <a:off x="1650919" y="3574029"/>
          <a:ext cx="9676320" cy="14293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275" tIns="151275" rIns="151275" bIns="151275" numCol="1" spcCol="1270" anchor="ctr" anchorCtr="0">
          <a:noAutofit/>
        </a:bodyPr>
        <a:lstStyle/>
        <a:p>
          <a:pPr marL="0" lvl="0" indent="0" algn="l" defTabSz="1111250">
            <a:lnSpc>
              <a:spcPct val="100000"/>
            </a:lnSpc>
            <a:spcBef>
              <a:spcPct val="0"/>
            </a:spcBef>
            <a:spcAft>
              <a:spcPct val="35000"/>
            </a:spcAft>
            <a:buNone/>
          </a:pPr>
          <a:r>
            <a:rPr lang="en-IN" sz="2500" kern="1200"/>
            <a:t>In case of additional DL requirement, kindly add any of the above as admin.</a:t>
          </a:r>
          <a:endParaRPr lang="en-US" sz="2500" kern="1200"/>
        </a:p>
      </dsp:txBody>
      <dsp:txXfrm>
        <a:off x="1650919" y="3574029"/>
        <a:ext cx="9676320" cy="14293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E7CF19-3CED-4DBE-8786-06312DB5CECE}">
      <dsp:nvSpPr>
        <dsp:cNvPr id="0" name=""/>
        <dsp:cNvSpPr/>
      </dsp:nvSpPr>
      <dsp:spPr>
        <a:xfrm>
          <a:off x="0" y="391399"/>
          <a:ext cx="9702800" cy="2570400"/>
        </a:xfrm>
        <a:prstGeom prst="rect">
          <a:avLst/>
        </a:prstGeom>
        <a:solidFill>
          <a:schemeClr val="accent3">
            <a:alpha val="90000"/>
            <a:tint val="4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53045" tIns="166624" rIns="753045" bIns="99568" numCol="1" spcCol="1270" anchor="t" anchorCtr="0">
          <a:noAutofit/>
        </a:bodyPr>
        <a:lstStyle/>
        <a:p>
          <a:pPr marL="0" lvl="1" indent="0" algn="l" defTabSz="622300">
            <a:lnSpc>
              <a:spcPct val="90000"/>
            </a:lnSpc>
            <a:spcBef>
              <a:spcPct val="0"/>
            </a:spcBef>
            <a:spcAft>
              <a:spcPct val="15000"/>
            </a:spcAft>
            <a:buFont typeface="Arial" panose="020B0604020202020204" pitchFamily="34" charset="0"/>
            <a:buChar char="•"/>
          </a:pPr>
          <a:endParaRPr lang="en-IN" sz="1400" kern="1200" dirty="0"/>
        </a:p>
        <a:p>
          <a:pPr marL="0" lvl="1" indent="0" algn="l" defTabSz="622300">
            <a:lnSpc>
              <a:spcPct val="90000"/>
            </a:lnSpc>
            <a:spcBef>
              <a:spcPct val="0"/>
            </a:spcBef>
            <a:spcAft>
              <a:spcPct val="15000"/>
            </a:spcAft>
            <a:buFont typeface="Arial" panose="020B0604020202020204" pitchFamily="34" charset="0"/>
            <a:buChar char="•"/>
          </a:pPr>
          <a:endParaRPr lang="en-IN" sz="1400" kern="1200" dirty="0"/>
        </a:p>
        <a:p>
          <a:pPr marL="0" lvl="1" indent="0" algn="l" defTabSz="622300">
            <a:lnSpc>
              <a:spcPct val="90000"/>
            </a:lnSpc>
            <a:spcBef>
              <a:spcPct val="0"/>
            </a:spcBef>
            <a:spcAft>
              <a:spcPct val="15000"/>
            </a:spcAft>
            <a:buFont typeface="Arial" panose="020B0604020202020204" pitchFamily="34" charset="0"/>
            <a:buChar char="•"/>
          </a:pPr>
          <a:r>
            <a:rPr lang="en-US" sz="1400" kern="1200" dirty="0"/>
            <a:t>Notify the onboarding to </a:t>
          </a:r>
          <a:r>
            <a:rPr lang="en-IN" sz="1400" u="sng" kern="1200" dirty="0">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a:t>
          </a:r>
          <a:r>
            <a:rPr lang="en-IN" sz="1400" u="sng" kern="1200" dirty="0" err="1">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oneG</a:t>
          </a:r>
          <a:r>
            <a:rPr lang="en-IN" sz="1400" u="sng" kern="1200" dirty="0">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 PMO Team</a:t>
          </a:r>
          <a:r>
            <a:rPr kumimoji="1" lang="en-IN" sz="1400" u="none" kern="1200" dirty="0"/>
            <a:t>.</a:t>
          </a:r>
          <a:endParaRPr lang="en-IN" sz="1400" kern="1200" dirty="0"/>
        </a:p>
        <a:p>
          <a:pPr marL="0" lvl="1" indent="0" algn="l" defTabSz="622300">
            <a:lnSpc>
              <a:spcPct val="90000"/>
            </a:lnSpc>
            <a:spcBef>
              <a:spcPct val="0"/>
            </a:spcBef>
            <a:spcAft>
              <a:spcPct val="15000"/>
            </a:spcAft>
            <a:buFont typeface="Arial" panose="020B0604020202020204" pitchFamily="34" charset="0"/>
            <a:buChar char="•"/>
          </a:pPr>
          <a:r>
            <a:rPr lang="en-US" sz="1400" kern="1200" dirty="0"/>
            <a:t>Global PMO will request your access.</a:t>
          </a:r>
          <a:endParaRPr lang="en-IN" sz="1400" kern="1200" dirty="0"/>
        </a:p>
        <a:p>
          <a:pPr marL="0" lvl="2" indent="0" algn="l" defTabSz="622300">
            <a:lnSpc>
              <a:spcPct val="90000"/>
            </a:lnSpc>
            <a:spcBef>
              <a:spcPct val="0"/>
            </a:spcBef>
            <a:spcAft>
              <a:spcPct val="15000"/>
            </a:spcAft>
            <a:buFont typeface="Arial" panose="020B0604020202020204" pitchFamily="34" charset="0"/>
            <a:buChar char="•"/>
          </a:pPr>
          <a:r>
            <a:rPr lang="en-US" sz="1400" kern="1200" dirty="0"/>
            <a:t>You will receive an email from </a:t>
          </a:r>
          <a:r>
            <a:rPr lang="en-US" sz="1400" u="sng" kern="1200" dirty="0">
              <a:hlinkClick xmlns:r="http://schemas.openxmlformats.org/officeDocument/2006/relationships" r:id="rId2"/>
            </a:rPr>
            <a:t>no-reply@asana.com</a:t>
          </a:r>
          <a:r>
            <a:rPr lang="en-US" sz="1400" kern="1200" dirty="0"/>
            <a:t> , check your spam folder ​</a:t>
          </a:r>
        </a:p>
        <a:p>
          <a:pPr marL="0" lvl="2" indent="0" algn="l" defTabSz="622300">
            <a:lnSpc>
              <a:spcPct val="90000"/>
            </a:lnSpc>
            <a:spcBef>
              <a:spcPct val="0"/>
            </a:spcBef>
            <a:spcAft>
              <a:spcPct val="15000"/>
            </a:spcAft>
            <a:buFont typeface="Arial" panose="020B0604020202020204" pitchFamily="34" charset="0"/>
            <a:buChar char="•"/>
          </a:pPr>
          <a:r>
            <a:rPr lang="en-US" sz="1400" kern="1200" dirty="0"/>
            <a:t>Accept the invitation using the link in the mail ​</a:t>
          </a:r>
        </a:p>
        <a:p>
          <a:pPr marL="0" lvl="2" indent="0" algn="l" defTabSz="622300">
            <a:lnSpc>
              <a:spcPct val="90000"/>
            </a:lnSpc>
            <a:spcBef>
              <a:spcPct val="0"/>
            </a:spcBef>
            <a:spcAft>
              <a:spcPct val="15000"/>
            </a:spcAft>
            <a:buFont typeface="Arial" panose="020B0604020202020204" pitchFamily="34" charset="0"/>
            <a:buChar char="•"/>
          </a:pPr>
          <a:r>
            <a:rPr lang="en-US" sz="1400" kern="1200" dirty="0"/>
            <a:t>Go to “Home” and validate you have been assigned to a project</a:t>
          </a:r>
        </a:p>
        <a:p>
          <a:pPr marL="0" lvl="2" indent="0" algn="l" defTabSz="622300">
            <a:lnSpc>
              <a:spcPct val="90000"/>
            </a:lnSpc>
            <a:spcBef>
              <a:spcPct val="0"/>
            </a:spcBef>
            <a:spcAft>
              <a:spcPct val="15000"/>
            </a:spcAft>
            <a:buFont typeface="Arial" panose="020B0604020202020204" pitchFamily="34" charset="0"/>
            <a:buChar char="•"/>
          </a:pPr>
          <a:r>
            <a:rPr lang="en-US" sz="1400" kern="1200" dirty="0"/>
            <a:t>Complete the two - factor authentication.</a:t>
          </a:r>
        </a:p>
        <a:p>
          <a:pPr marL="0" lvl="2" indent="0" algn="l" defTabSz="622300">
            <a:lnSpc>
              <a:spcPct val="90000"/>
            </a:lnSpc>
            <a:spcBef>
              <a:spcPct val="0"/>
            </a:spcBef>
            <a:spcAft>
              <a:spcPct val="15000"/>
            </a:spcAft>
            <a:buFont typeface="Arial" panose="020B0604020202020204" pitchFamily="34" charset="0"/>
            <a:buChar char="•"/>
          </a:pPr>
          <a:r>
            <a:rPr lang="en-US" sz="1400" b="0" i="0" kern="1200" dirty="0">
              <a:effectLst/>
            </a:rPr>
            <a:t>Confirm your access to Global PMO.</a:t>
          </a:r>
        </a:p>
      </dsp:txBody>
      <dsp:txXfrm>
        <a:off x="0" y="391399"/>
        <a:ext cx="9702800" cy="2570400"/>
      </dsp:txXfrm>
    </dsp:sp>
    <dsp:sp modelId="{56ECB841-E172-4C5A-AE6B-53BADC4C33B5}">
      <dsp:nvSpPr>
        <dsp:cNvPr id="0" name=""/>
        <dsp:cNvSpPr/>
      </dsp:nvSpPr>
      <dsp:spPr>
        <a:xfrm>
          <a:off x="485140" y="37159"/>
          <a:ext cx="6791960" cy="70848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720" tIns="0" rIns="256720" bIns="0" numCol="1" spcCol="1270" anchor="ctr" anchorCtr="0">
          <a:noAutofit/>
        </a:bodyPr>
        <a:lstStyle/>
        <a:p>
          <a:pPr marL="0" lvl="0" indent="0" algn="l" defTabSz="889000">
            <a:lnSpc>
              <a:spcPct val="90000"/>
            </a:lnSpc>
            <a:spcBef>
              <a:spcPct val="0"/>
            </a:spcBef>
            <a:spcAft>
              <a:spcPct val="35000"/>
            </a:spcAft>
            <a:buNone/>
          </a:pPr>
          <a:r>
            <a:rPr lang="en-IN" sz="2000" b="1" kern="1200">
              <a:latin typeface="Arial" panose="020B0604020202020204"/>
              <a:ea typeface="+mn-ea"/>
              <a:cs typeface="+mn-cs"/>
            </a:rPr>
            <a:t>Asana</a:t>
          </a:r>
          <a:endParaRPr lang="en-IN" sz="2000" b="1" kern="1200" dirty="0">
            <a:latin typeface="Arial" panose="020B0604020202020204"/>
            <a:ea typeface="+mn-ea"/>
            <a:cs typeface="+mn-cs"/>
          </a:endParaRPr>
        </a:p>
      </dsp:txBody>
      <dsp:txXfrm>
        <a:off x="519725" y="71744"/>
        <a:ext cx="6722790" cy="639310"/>
      </dsp:txXfrm>
    </dsp:sp>
    <dsp:sp modelId="{35FE4206-7B14-405E-9F88-9641C0DC186B}">
      <dsp:nvSpPr>
        <dsp:cNvPr id="0" name=""/>
        <dsp:cNvSpPr/>
      </dsp:nvSpPr>
      <dsp:spPr>
        <a:xfrm>
          <a:off x="0" y="3445639"/>
          <a:ext cx="9702800" cy="1775000"/>
        </a:xfrm>
        <a:prstGeom prst="rect">
          <a:avLst/>
        </a:prstGeom>
        <a:solidFill>
          <a:schemeClr val="accent3">
            <a:alpha val="90000"/>
            <a:tint val="4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53045" tIns="166624" rIns="753045" bIns="113792" numCol="1" spcCol="1270" anchor="t" anchorCtr="0">
          <a:noAutofit/>
        </a:bodyPr>
        <a:lstStyle/>
        <a:p>
          <a:pPr marL="171450" lvl="1" indent="-171450" algn="l" defTabSz="711200">
            <a:lnSpc>
              <a:spcPct val="90000"/>
            </a:lnSpc>
            <a:spcBef>
              <a:spcPct val="0"/>
            </a:spcBef>
            <a:spcAft>
              <a:spcPct val="15000"/>
            </a:spcAft>
            <a:buChar char="•"/>
          </a:pPr>
          <a:endParaRPr lang="en-IN" sz="1600" kern="1200" dirty="0">
            <a:latin typeface="+mn-lt"/>
          </a:endParaRPr>
        </a:p>
        <a:p>
          <a:pPr marL="228600" lvl="2" indent="-114300" algn="l" defTabSz="622300">
            <a:lnSpc>
              <a:spcPct val="90000"/>
            </a:lnSpc>
            <a:spcBef>
              <a:spcPct val="0"/>
            </a:spcBef>
            <a:spcAft>
              <a:spcPct val="15000"/>
            </a:spcAft>
            <a:buChar char="•"/>
          </a:pPr>
          <a:r>
            <a:rPr lang="en-US" sz="1400" kern="1200" dirty="0">
              <a:latin typeface="+mn-lt"/>
            </a:rPr>
            <a:t>Notify the onboarding to </a:t>
          </a:r>
          <a:r>
            <a:rPr lang="en-IN" sz="1400" u="sng" kern="1200" dirty="0">
              <a:latin typeface="+mn-lt"/>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a:t>
          </a:r>
          <a:r>
            <a:rPr lang="en-IN" sz="1400" u="sng" kern="1200" dirty="0" err="1">
              <a:latin typeface="+mn-lt"/>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oneG</a:t>
          </a:r>
          <a:r>
            <a:rPr lang="en-IN" sz="1400" u="sng" kern="1200" dirty="0">
              <a:latin typeface="+mn-lt"/>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 PMO Team</a:t>
          </a:r>
          <a:r>
            <a:rPr kumimoji="1" lang="en-IN" sz="1400" u="none" kern="1200" dirty="0">
              <a:latin typeface="+mn-lt"/>
            </a:rPr>
            <a:t>.</a:t>
          </a:r>
          <a:endParaRPr lang="en-US" sz="1400" kern="1200" dirty="0">
            <a:latin typeface="+mn-lt"/>
          </a:endParaRPr>
        </a:p>
        <a:p>
          <a:pPr marL="228600" lvl="2" indent="-114300" algn="l" defTabSz="622300">
            <a:lnSpc>
              <a:spcPct val="90000"/>
            </a:lnSpc>
            <a:spcBef>
              <a:spcPct val="0"/>
            </a:spcBef>
            <a:spcAft>
              <a:spcPct val="15000"/>
            </a:spcAft>
            <a:buChar char="•"/>
          </a:pPr>
          <a:r>
            <a:rPr lang="en-US" sz="1400" kern="1200">
              <a:latin typeface="+mn-lt"/>
            </a:rPr>
            <a:t>Global PMO will request your access.</a:t>
          </a:r>
          <a:endParaRPr lang="en-US" sz="1400" kern="1200" dirty="0">
            <a:latin typeface="+mn-lt"/>
          </a:endParaRPr>
        </a:p>
        <a:p>
          <a:pPr marL="228600" lvl="2" indent="-114300" algn="l" defTabSz="622300">
            <a:lnSpc>
              <a:spcPct val="90000"/>
            </a:lnSpc>
            <a:spcBef>
              <a:spcPct val="0"/>
            </a:spcBef>
            <a:spcAft>
              <a:spcPct val="15000"/>
            </a:spcAft>
            <a:buChar char="•"/>
          </a:pPr>
          <a:r>
            <a:rPr lang="en-US" sz="1400" kern="1200">
              <a:latin typeface="+mn-lt"/>
            </a:rPr>
            <a:t>You will receive an email from </a:t>
          </a:r>
          <a:r>
            <a:rPr lang="en-US" sz="1400" u="sng" kern="1200">
              <a:latin typeface="+mn-lt"/>
              <a:hlinkClick xmlns:r="http://schemas.openxmlformats.org/officeDocument/2006/relationships" r:id="rId2"/>
            </a:rPr>
            <a:t>no-reply@sharepointonline.com</a:t>
          </a:r>
          <a:r>
            <a:rPr lang="en-US" sz="1400" kern="1200">
              <a:latin typeface="+mn-lt"/>
            </a:rPr>
            <a:t> , check your spam folder ​</a:t>
          </a:r>
          <a:endParaRPr lang="en-US" sz="1400" kern="1200" dirty="0">
            <a:latin typeface="+mn-lt"/>
          </a:endParaRPr>
        </a:p>
        <a:p>
          <a:pPr marL="228600" lvl="2" indent="-114300" algn="l" defTabSz="622300">
            <a:lnSpc>
              <a:spcPct val="90000"/>
            </a:lnSpc>
            <a:spcBef>
              <a:spcPct val="0"/>
            </a:spcBef>
            <a:spcAft>
              <a:spcPct val="15000"/>
            </a:spcAft>
            <a:buChar char="•"/>
          </a:pPr>
          <a:r>
            <a:rPr lang="en-US" sz="1400" kern="1200">
              <a:latin typeface="+mn-lt"/>
            </a:rPr>
            <a:t>Accept the invitation using the link in the mail ​</a:t>
          </a:r>
          <a:endParaRPr lang="en-US" sz="1400" kern="1200" dirty="0">
            <a:latin typeface="+mn-lt"/>
          </a:endParaRPr>
        </a:p>
        <a:p>
          <a:pPr marL="228600" lvl="2" indent="-114300" algn="l" defTabSz="622300">
            <a:lnSpc>
              <a:spcPct val="90000"/>
            </a:lnSpc>
            <a:spcBef>
              <a:spcPct val="0"/>
            </a:spcBef>
            <a:spcAft>
              <a:spcPct val="15000"/>
            </a:spcAft>
            <a:buChar char="•"/>
          </a:pPr>
          <a:r>
            <a:rPr lang="en-US" sz="1400" kern="1200" dirty="0">
              <a:latin typeface="+mn-lt"/>
            </a:rPr>
            <a:t>Create account and complete the two - factor authentication.</a:t>
          </a:r>
        </a:p>
        <a:p>
          <a:pPr marL="228600" lvl="2" indent="-114300" algn="l" defTabSz="622300">
            <a:lnSpc>
              <a:spcPct val="90000"/>
            </a:lnSpc>
            <a:spcBef>
              <a:spcPct val="0"/>
            </a:spcBef>
            <a:spcAft>
              <a:spcPct val="15000"/>
            </a:spcAft>
            <a:buChar char="•"/>
          </a:pPr>
          <a:r>
            <a:rPr lang="en-US" sz="1400" b="0" i="0" kern="1200">
              <a:effectLst/>
              <a:latin typeface="+mn-lt"/>
            </a:rPr>
            <a:t>Confirm your access to Global PMO.</a:t>
          </a:r>
          <a:endParaRPr lang="en-US" sz="1400" b="0" i="0" kern="1200" dirty="0">
            <a:effectLst/>
            <a:latin typeface="+mn-lt"/>
          </a:endParaRPr>
        </a:p>
      </dsp:txBody>
      <dsp:txXfrm>
        <a:off x="0" y="3445639"/>
        <a:ext cx="9702800" cy="1775000"/>
      </dsp:txXfrm>
    </dsp:sp>
    <dsp:sp modelId="{63BDEA1A-8875-4E2D-AFE7-698842385703}">
      <dsp:nvSpPr>
        <dsp:cNvPr id="0" name=""/>
        <dsp:cNvSpPr/>
      </dsp:nvSpPr>
      <dsp:spPr>
        <a:xfrm>
          <a:off x="485140" y="3091399"/>
          <a:ext cx="6791960" cy="70848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720" tIns="0" rIns="256720" bIns="0" numCol="1" spcCol="1270" anchor="ctr" anchorCtr="0">
          <a:noAutofit/>
        </a:bodyPr>
        <a:lstStyle/>
        <a:p>
          <a:pPr marL="0" lvl="0" indent="0" algn="l" defTabSz="889000">
            <a:lnSpc>
              <a:spcPct val="90000"/>
            </a:lnSpc>
            <a:spcBef>
              <a:spcPct val="0"/>
            </a:spcBef>
            <a:spcAft>
              <a:spcPct val="35000"/>
            </a:spcAft>
            <a:buNone/>
          </a:pPr>
          <a:r>
            <a:rPr lang="en-IN" sz="2000" b="1" kern="1200">
              <a:latin typeface="Arial" panose="020B0604020202020204"/>
              <a:ea typeface="+mn-ea"/>
              <a:cs typeface="+mn-cs"/>
            </a:rPr>
            <a:t>Sharepoint – ConfExt_Mone_G</a:t>
          </a:r>
          <a:endParaRPr lang="en-IN" sz="2000" b="1" kern="1200" dirty="0">
            <a:latin typeface="Arial" panose="020B0604020202020204"/>
            <a:ea typeface="+mn-ea"/>
            <a:cs typeface="+mn-cs"/>
          </a:endParaRPr>
        </a:p>
      </dsp:txBody>
      <dsp:txXfrm>
        <a:off x="519725" y="3125984"/>
        <a:ext cx="6722790" cy="6393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21828C-1191-422F-AEA0-A9AA5012DE70}">
      <dsp:nvSpPr>
        <dsp:cNvPr id="0" name=""/>
        <dsp:cNvSpPr/>
      </dsp:nvSpPr>
      <dsp:spPr>
        <a:xfrm>
          <a:off x="0" y="384304"/>
          <a:ext cx="9702800" cy="2199173"/>
        </a:xfrm>
        <a:prstGeom prst="rect">
          <a:avLst/>
        </a:prstGeom>
        <a:solidFill>
          <a:schemeClr val="accent3">
            <a:alpha val="90000"/>
            <a:tint val="4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53045" tIns="499872" rIns="75304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dirty="0">
              <a:latin typeface="+mj-lt"/>
            </a:rPr>
            <a:t>The Teams folder for the project is named ‘MCC – Mitsubishi Chemical Corporation’.</a:t>
          </a:r>
        </a:p>
        <a:p>
          <a:pPr marL="171450" lvl="1" indent="-171450" algn="l" defTabSz="800100">
            <a:lnSpc>
              <a:spcPct val="90000"/>
            </a:lnSpc>
            <a:spcBef>
              <a:spcPct val="0"/>
            </a:spcBef>
            <a:spcAft>
              <a:spcPct val="15000"/>
            </a:spcAft>
            <a:buChar char="•"/>
          </a:pPr>
          <a:r>
            <a:rPr lang="en-IN" sz="1800" kern="1200">
              <a:latin typeface="+mj-lt"/>
            </a:rPr>
            <a:t>All documentation is to be updated in the channel -07_MoneG Delivery Folder</a:t>
          </a:r>
          <a:endParaRPr lang="en-IN" sz="1800" kern="1200" dirty="0">
            <a:latin typeface="+mj-lt"/>
          </a:endParaRPr>
        </a:p>
        <a:p>
          <a:pPr marL="171450" lvl="1" indent="-171450" algn="l" defTabSz="800100">
            <a:lnSpc>
              <a:spcPct val="90000"/>
            </a:lnSpc>
            <a:spcBef>
              <a:spcPct val="0"/>
            </a:spcBef>
            <a:spcAft>
              <a:spcPct val="15000"/>
            </a:spcAft>
            <a:buChar char="•"/>
          </a:pPr>
          <a:r>
            <a:rPr lang="en-IN" sz="1800" kern="1200">
              <a:latin typeface="+mj-lt"/>
            </a:rPr>
            <a:t>If any member is to be added to the Teams group, kindly drop a note to </a:t>
          </a:r>
          <a:r>
            <a:rPr lang="en-IN" sz="1800" u="sng" kern="1200">
              <a:solidFill>
                <a:srgbClr val="00929B"/>
              </a:solidFill>
              <a:latin typeface="+mj-lt"/>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MoneG PMO Team</a:t>
          </a:r>
          <a:r>
            <a:rPr lang="en-IN" sz="1900" kern="1200"/>
            <a:t>.</a:t>
          </a:r>
          <a:endParaRPr lang="en-IN" sz="1900" kern="1200" dirty="0"/>
        </a:p>
        <a:p>
          <a:pPr marL="171450" lvl="1" indent="-171450" algn="l" defTabSz="844550">
            <a:lnSpc>
              <a:spcPct val="90000"/>
            </a:lnSpc>
            <a:spcBef>
              <a:spcPct val="0"/>
            </a:spcBef>
            <a:spcAft>
              <a:spcPct val="15000"/>
            </a:spcAft>
            <a:buChar char="•"/>
          </a:pPr>
          <a:endParaRPr lang="en-IN" sz="1900" kern="1200" dirty="0"/>
        </a:p>
      </dsp:txBody>
      <dsp:txXfrm>
        <a:off x="0" y="384304"/>
        <a:ext cx="9702800" cy="2199173"/>
      </dsp:txXfrm>
    </dsp:sp>
    <dsp:sp modelId="{5D4D64D0-C325-4A31-BC59-0613AC5ED74E}">
      <dsp:nvSpPr>
        <dsp:cNvPr id="0" name=""/>
        <dsp:cNvSpPr/>
      </dsp:nvSpPr>
      <dsp:spPr>
        <a:xfrm>
          <a:off x="485140" y="15304"/>
          <a:ext cx="6791960" cy="73800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720" tIns="0" rIns="256720" bIns="0" numCol="1" spcCol="1270" anchor="ctr" anchorCtr="0">
          <a:noAutofit/>
        </a:bodyPr>
        <a:lstStyle/>
        <a:p>
          <a:pPr marL="0" lvl="0" indent="0" algn="l" defTabSz="889000">
            <a:lnSpc>
              <a:spcPct val="90000"/>
            </a:lnSpc>
            <a:spcBef>
              <a:spcPct val="0"/>
            </a:spcBef>
            <a:spcAft>
              <a:spcPct val="35000"/>
            </a:spcAft>
            <a:buNone/>
          </a:pPr>
          <a:r>
            <a:rPr lang="en-IN" sz="2000" b="1" kern="1200" dirty="0"/>
            <a:t>CG Internal Teams / SharePoint Folder</a:t>
          </a:r>
          <a:endParaRPr lang="en-IN" sz="2000" kern="1200" dirty="0"/>
        </a:p>
      </dsp:txBody>
      <dsp:txXfrm>
        <a:off x="521166" y="51330"/>
        <a:ext cx="6719908" cy="665948"/>
      </dsp:txXfrm>
    </dsp:sp>
    <dsp:sp modelId="{D7231557-2E0A-4EDC-800E-2D1A432D45A6}">
      <dsp:nvSpPr>
        <dsp:cNvPr id="0" name=""/>
        <dsp:cNvSpPr/>
      </dsp:nvSpPr>
      <dsp:spPr>
        <a:xfrm>
          <a:off x="0" y="3087478"/>
          <a:ext cx="9702800" cy="1968750"/>
        </a:xfrm>
        <a:prstGeom prst="rect">
          <a:avLst/>
        </a:prstGeom>
        <a:solidFill>
          <a:schemeClr val="accent3">
            <a:alpha val="90000"/>
            <a:tint val="4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53045" tIns="499872" rIns="75304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rgbClr val="000000"/>
              </a:solidFill>
            </a:rPr>
            <a:t>Notify the onboarding to </a:t>
          </a:r>
          <a:r>
            <a:rPr lang="en-IN" sz="1800" u="sng" kern="1200" dirty="0">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DL JP MCG </a:t>
          </a:r>
          <a:r>
            <a:rPr lang="en-IN" sz="1800" u="sng" kern="1200" dirty="0" err="1">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oneG</a:t>
          </a:r>
          <a:r>
            <a:rPr lang="en-IN" sz="1800" u="sng" kern="1200" dirty="0">
              <a:solidFill>
                <a:srgbClr val="00929B"/>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 PMO Team</a:t>
          </a:r>
          <a:r>
            <a:rPr kumimoji="1" lang="en-IN" sz="1800" u="none" kern="1200" dirty="0">
              <a:solidFill>
                <a:schemeClr val="dk1"/>
              </a:solidFill>
            </a:rPr>
            <a:t>.</a:t>
          </a:r>
          <a:endParaRPr lang="en-IN" sz="1800" kern="1200" dirty="0">
            <a:latin typeface="+mj-lt"/>
          </a:endParaRPr>
        </a:p>
        <a:p>
          <a:pPr marL="171450" lvl="1" indent="-171450" algn="l" defTabSz="800100">
            <a:lnSpc>
              <a:spcPct val="90000"/>
            </a:lnSpc>
            <a:spcBef>
              <a:spcPct val="0"/>
            </a:spcBef>
            <a:spcAft>
              <a:spcPct val="15000"/>
            </a:spcAft>
            <a:buChar char="•"/>
          </a:pPr>
          <a:r>
            <a:rPr lang="en-US" sz="1800" kern="1200" dirty="0">
              <a:solidFill>
                <a:prstClr val="black">
                  <a:hueOff val="0"/>
                  <a:satOff val="0"/>
                  <a:lumOff val="0"/>
                  <a:alphaOff val="0"/>
                </a:prstClr>
              </a:solidFill>
              <a:latin typeface="Arial" panose="020B0604020202020204"/>
              <a:ea typeface="+mn-ea"/>
              <a:cs typeface="+mn-cs"/>
            </a:rPr>
            <a:t>Global PMO will request your access.</a:t>
          </a:r>
        </a:p>
        <a:p>
          <a:pPr marL="171450" lvl="1" indent="-171450" algn="l" defTabSz="800100">
            <a:lnSpc>
              <a:spcPct val="90000"/>
            </a:lnSpc>
            <a:spcBef>
              <a:spcPct val="0"/>
            </a:spcBef>
            <a:spcAft>
              <a:spcPct val="15000"/>
            </a:spcAft>
            <a:buChar char="•"/>
          </a:pPr>
          <a:r>
            <a:rPr lang="en-US" sz="1800" kern="1200" dirty="0">
              <a:latin typeface="+mj-lt"/>
            </a:rPr>
            <a:t>Post approval from MCG, you will receive an email from </a:t>
          </a:r>
          <a:r>
            <a:rPr lang="en-IN" sz="1800" u="sng" kern="1200" dirty="0">
              <a:latin typeface="+mj-lt"/>
              <a:hlinkClick xmlns:r="http://schemas.openxmlformats.org/officeDocument/2006/relationships" r:id="rId2"/>
            </a:rPr>
            <a:t>no-reply@cloud-idf.com</a:t>
          </a:r>
          <a:r>
            <a:rPr lang="en-US" sz="1800" kern="1200" dirty="0">
              <a:latin typeface="+mj-lt"/>
            </a:rPr>
            <a:t>, check your spam folder ​</a:t>
          </a:r>
        </a:p>
        <a:p>
          <a:pPr marL="171450" lvl="1" indent="-171450" algn="l" defTabSz="800100">
            <a:lnSpc>
              <a:spcPct val="90000"/>
            </a:lnSpc>
            <a:spcBef>
              <a:spcPct val="0"/>
            </a:spcBef>
            <a:spcAft>
              <a:spcPct val="15000"/>
            </a:spcAft>
            <a:buChar char="•"/>
          </a:pPr>
          <a:r>
            <a:rPr lang="en-US" sz="1800" kern="1200" dirty="0">
              <a:latin typeface="+mj-lt"/>
            </a:rPr>
            <a:t>Follow the steps shown in the next slide</a:t>
          </a:r>
        </a:p>
      </dsp:txBody>
      <dsp:txXfrm>
        <a:off x="0" y="3087478"/>
        <a:ext cx="9702800" cy="1968750"/>
      </dsp:txXfrm>
    </dsp:sp>
    <dsp:sp modelId="{5EF8D703-ECF5-4C25-9E77-0E2141174DE5}">
      <dsp:nvSpPr>
        <dsp:cNvPr id="0" name=""/>
        <dsp:cNvSpPr/>
      </dsp:nvSpPr>
      <dsp:spPr>
        <a:xfrm>
          <a:off x="485140" y="2718478"/>
          <a:ext cx="6791960" cy="73800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720" tIns="0" rIns="256720" bIns="0" numCol="1" spcCol="1270" anchor="ctr" anchorCtr="0">
          <a:noAutofit/>
        </a:bodyPr>
        <a:lstStyle/>
        <a:p>
          <a:pPr marL="0" lvl="0" indent="0" algn="l" defTabSz="889000">
            <a:lnSpc>
              <a:spcPct val="90000"/>
            </a:lnSpc>
            <a:spcBef>
              <a:spcPct val="0"/>
            </a:spcBef>
            <a:spcAft>
              <a:spcPct val="35000"/>
            </a:spcAft>
            <a:buNone/>
          </a:pPr>
          <a:r>
            <a:rPr lang="en-IN" sz="2000" b="1" kern="1200" dirty="0"/>
            <a:t>AppStream</a:t>
          </a:r>
        </a:p>
      </dsp:txBody>
      <dsp:txXfrm>
        <a:off x="521166" y="2754504"/>
        <a:ext cx="6719908"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DF836-A7A3-406F-9CFC-67722ECC04B7}">
      <dsp:nvSpPr>
        <dsp:cNvPr id="0" name=""/>
        <dsp:cNvSpPr/>
      </dsp:nvSpPr>
      <dsp:spPr>
        <a:xfrm>
          <a:off x="5190" y="81195"/>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1. </a:t>
          </a:r>
          <a:r>
            <a:rPr lang="en-US" sz="1100" kern="1200" dirty="0"/>
            <a:t>Click on the URL in the welcome email from  </a:t>
          </a:r>
          <a:r>
            <a:rPr lang="en-US" sz="1100" kern="1200" dirty="0" err="1"/>
            <a:t>APPStream</a:t>
          </a:r>
          <a:r>
            <a:rPr lang="en-US" sz="1100" kern="1200" dirty="0"/>
            <a:t> </a:t>
          </a:r>
        </a:p>
        <a:p>
          <a:pPr marL="0" lvl="0" indent="0" algn="l" defTabSz="711200">
            <a:lnSpc>
              <a:spcPct val="90000"/>
            </a:lnSpc>
            <a:spcBef>
              <a:spcPct val="0"/>
            </a:spcBef>
            <a:spcAft>
              <a:spcPct val="35000"/>
            </a:spcAft>
            <a:buNone/>
          </a:pPr>
          <a:r>
            <a:rPr lang="en-US" sz="1100" kern="1200" dirty="0"/>
            <a:t>Sub</a:t>
          </a:r>
          <a:r>
            <a:rPr lang="en-US" sz="1100" i="1" kern="1200" dirty="0"/>
            <a:t>: [ID Federation] password initialization\</a:t>
          </a:r>
        </a:p>
      </dsp:txBody>
      <dsp:txXfrm>
        <a:off x="45070" y="121075"/>
        <a:ext cx="2189589" cy="1281849"/>
      </dsp:txXfrm>
    </dsp:sp>
    <dsp:sp modelId="{9A3F7A96-BC59-4841-9B60-ACDCB8F9C730}">
      <dsp:nvSpPr>
        <dsp:cNvPr id="0" name=""/>
        <dsp:cNvSpPr/>
      </dsp:nvSpPr>
      <dsp:spPr>
        <a:xfrm>
          <a:off x="2501475" y="480600"/>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2501475" y="593160"/>
        <a:ext cx="336771" cy="337678"/>
      </dsp:txXfrm>
    </dsp:sp>
    <dsp:sp modelId="{7DD3C8FC-3E76-4799-802B-85BE05C93BAA}">
      <dsp:nvSpPr>
        <dsp:cNvPr id="0" name=""/>
        <dsp:cNvSpPr/>
      </dsp:nvSpPr>
      <dsp:spPr>
        <a:xfrm>
          <a:off x="3182280" y="81195"/>
          <a:ext cx="2269349" cy="1361609"/>
        </a:xfrm>
        <a:prstGeom prst="roundRect">
          <a:avLst>
            <a:gd name="adj" fmla="val 10000"/>
          </a:avLst>
        </a:prstGeom>
        <a:solidFill>
          <a:schemeClr val="lt1"/>
        </a:solidFill>
        <a:ln w="12700" cap="flat" cmpd="sng" algn="ctr">
          <a:solidFill>
            <a:schemeClr val="accent2"/>
          </a:solidFill>
          <a:prstDash val="solid"/>
          <a:miter lim="800000"/>
        </a:ln>
        <a:effectLst/>
      </dsp:spPr>
      <dsp:style>
        <a:lnRef idx="2">
          <a:schemeClr val="accent2"/>
        </a:lnRef>
        <a:fillRef idx="1">
          <a:schemeClr val="lt1"/>
        </a:fillRef>
        <a:effectRef idx="0">
          <a:schemeClr val="accent2"/>
        </a:effectRef>
        <a:fontRef idx="minor">
          <a:schemeClr val="dk1"/>
        </a:fontRef>
      </dsp:style>
      <dsp:txBody>
        <a:bodyPr spcFirstLastPara="0" vert="horz" wrap="square" lIns="60960" tIns="60960" rIns="60960" bIns="60960" numCol="1" spcCol="1270" anchor="ctr" anchorCtr="0">
          <a:noAutofit/>
        </a:bodyPr>
        <a:lstStyle/>
        <a:p>
          <a:pPr marL="0" lvl="0" indent="0" algn="l" defTabSz="488950">
            <a:lnSpc>
              <a:spcPct val="90000"/>
            </a:lnSpc>
            <a:spcBef>
              <a:spcPct val="0"/>
            </a:spcBef>
            <a:spcAft>
              <a:spcPct val="35000"/>
            </a:spcAft>
            <a:buNone/>
          </a:pPr>
          <a:r>
            <a:rPr lang="en-US" sz="1600" kern="1200" dirty="0">
              <a:solidFill>
                <a:prstClr val="black"/>
              </a:solidFill>
              <a:latin typeface="Arial" panose="020B0604020202020204"/>
              <a:ea typeface="+mn-ea"/>
              <a:cs typeface="+mn-cs"/>
            </a:rPr>
            <a:t>2. </a:t>
          </a:r>
          <a:r>
            <a:rPr lang="en-US" sz="1100" kern="1200" dirty="0">
              <a:solidFill>
                <a:prstClr val="black"/>
              </a:solidFill>
              <a:latin typeface="Arial" panose="020B0604020202020204"/>
              <a:ea typeface="+mn-ea"/>
              <a:cs typeface="+mn-cs"/>
            </a:rPr>
            <a:t>Set your password</a:t>
          </a:r>
        </a:p>
      </dsp:txBody>
      <dsp:txXfrm>
        <a:off x="3222160" y="121075"/>
        <a:ext cx="2189589" cy="1281849"/>
      </dsp:txXfrm>
    </dsp:sp>
    <dsp:sp modelId="{469601B9-AA07-4683-9DD4-026C39F0A0D5}">
      <dsp:nvSpPr>
        <dsp:cNvPr id="0" name=""/>
        <dsp:cNvSpPr/>
      </dsp:nvSpPr>
      <dsp:spPr>
        <a:xfrm>
          <a:off x="5678565" y="480600"/>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5678565" y="593160"/>
        <a:ext cx="336771" cy="337678"/>
      </dsp:txXfrm>
    </dsp:sp>
    <dsp:sp modelId="{35FCEC33-04B9-48CB-B5F1-FB8BB68E00D6}">
      <dsp:nvSpPr>
        <dsp:cNvPr id="0" name=""/>
        <dsp:cNvSpPr/>
      </dsp:nvSpPr>
      <dsp:spPr>
        <a:xfrm>
          <a:off x="6359369" y="81195"/>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488950">
            <a:lnSpc>
              <a:spcPct val="90000"/>
            </a:lnSpc>
            <a:spcBef>
              <a:spcPct val="0"/>
            </a:spcBef>
            <a:spcAft>
              <a:spcPct val="35000"/>
            </a:spcAft>
            <a:buNone/>
          </a:pPr>
          <a:r>
            <a:rPr lang="en-US" sz="1600" kern="1200" dirty="0">
              <a:solidFill>
                <a:prstClr val="black"/>
              </a:solidFill>
              <a:latin typeface="Arial" panose="020B0604020202020204"/>
              <a:ea typeface="+mn-ea"/>
              <a:cs typeface="+mn-cs"/>
            </a:rPr>
            <a:t>3. </a:t>
          </a:r>
          <a:r>
            <a:rPr lang="en-US" sz="1100" kern="1200" dirty="0">
              <a:solidFill>
                <a:prstClr val="black"/>
              </a:solidFill>
              <a:latin typeface="Arial" panose="020B0604020202020204"/>
              <a:ea typeface="+mn-ea"/>
              <a:cs typeface="+mn-cs"/>
            </a:rPr>
            <a:t>Click on “Return to the ID Federation Service”</a:t>
          </a:r>
        </a:p>
      </dsp:txBody>
      <dsp:txXfrm>
        <a:off x="6399249" y="121075"/>
        <a:ext cx="2189589" cy="1281849"/>
      </dsp:txXfrm>
    </dsp:sp>
    <dsp:sp modelId="{628B10F9-F0A7-44EC-AC0D-08D465F8609E}">
      <dsp:nvSpPr>
        <dsp:cNvPr id="0" name=""/>
        <dsp:cNvSpPr/>
      </dsp:nvSpPr>
      <dsp:spPr>
        <a:xfrm>
          <a:off x="8855654" y="480600"/>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8855654" y="593160"/>
        <a:ext cx="336771" cy="337678"/>
      </dsp:txXfrm>
    </dsp:sp>
    <dsp:sp modelId="{26F5DC1E-B3F4-4552-8A94-54C52407A617}">
      <dsp:nvSpPr>
        <dsp:cNvPr id="0" name=""/>
        <dsp:cNvSpPr/>
      </dsp:nvSpPr>
      <dsp:spPr>
        <a:xfrm>
          <a:off x="9536459" y="81195"/>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488950">
            <a:lnSpc>
              <a:spcPct val="90000"/>
            </a:lnSpc>
            <a:spcBef>
              <a:spcPct val="0"/>
            </a:spcBef>
            <a:spcAft>
              <a:spcPct val="35000"/>
            </a:spcAft>
            <a:buNone/>
          </a:pPr>
          <a:r>
            <a:rPr lang="en-US" sz="1600" kern="1200" dirty="0">
              <a:effectLst/>
              <a:latin typeface="Calibri" panose="020F0502020204030204" pitchFamily="34" charset="0"/>
              <a:ea typeface="DengXian" panose="02010600030101010101" pitchFamily="2" charset="-122"/>
              <a:cs typeface="Times New Roman" panose="02020603050405020304" pitchFamily="18" charset="0"/>
            </a:rPr>
            <a:t>4. </a:t>
          </a:r>
          <a:r>
            <a:rPr lang="en-US" sz="1100" kern="1200" dirty="0">
              <a:effectLst/>
              <a:latin typeface="+mj-lt"/>
              <a:ea typeface="DengXian" panose="02010600030101010101" pitchFamily="2" charset="-122"/>
              <a:cs typeface="Times New Roman" panose="02020603050405020304" pitchFamily="18" charset="0"/>
            </a:rPr>
            <a:t>Login with your Capgemini email address and password  just set</a:t>
          </a:r>
          <a:endParaRPr lang="en-US" sz="1100" kern="1200" dirty="0">
            <a:solidFill>
              <a:prstClr val="black"/>
            </a:solidFill>
            <a:latin typeface="+mj-lt"/>
            <a:ea typeface="+mn-ea"/>
            <a:cs typeface="+mn-cs"/>
          </a:endParaRPr>
        </a:p>
      </dsp:txBody>
      <dsp:txXfrm>
        <a:off x="9576339" y="121075"/>
        <a:ext cx="2189589" cy="128184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069E8-78C3-4607-BB37-878F5C630877}">
      <dsp:nvSpPr>
        <dsp:cNvPr id="0" name=""/>
        <dsp:cNvSpPr/>
      </dsp:nvSpPr>
      <dsp:spPr>
        <a:xfrm>
          <a:off x="5190" y="94670"/>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FontTx/>
            <a:buNone/>
          </a:pPr>
          <a:r>
            <a:rPr lang="en-US" sz="1600" kern="1200" dirty="0">
              <a:effectLst/>
              <a:latin typeface="+mj-lt"/>
              <a:ea typeface="DengXian" panose="02010600030101010101" pitchFamily="2" charset="-122"/>
              <a:cs typeface="Times New Roman" panose="02020603050405020304" pitchFamily="18" charset="0"/>
            </a:rPr>
            <a:t>5. </a:t>
          </a:r>
          <a:r>
            <a:rPr lang="en-US" sz="1100" kern="1200" dirty="0">
              <a:solidFill>
                <a:prstClr val="black"/>
              </a:solidFill>
              <a:latin typeface="Arial" panose="020B0604020202020204"/>
              <a:ea typeface="+mn-ea"/>
              <a:cs typeface="+mn-cs"/>
            </a:rPr>
            <a:t>One-time password will be sent to your Capgemini mailbox, fill it in the window</a:t>
          </a:r>
        </a:p>
      </dsp:txBody>
      <dsp:txXfrm>
        <a:off x="45070" y="134550"/>
        <a:ext cx="2189589" cy="1281849"/>
      </dsp:txXfrm>
    </dsp:sp>
    <dsp:sp modelId="{D42A22AB-A633-4983-B772-571523C7F8ED}">
      <dsp:nvSpPr>
        <dsp:cNvPr id="0" name=""/>
        <dsp:cNvSpPr/>
      </dsp:nvSpPr>
      <dsp:spPr>
        <a:xfrm>
          <a:off x="2501475" y="494076"/>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2501475" y="606636"/>
        <a:ext cx="336771" cy="337678"/>
      </dsp:txXfrm>
    </dsp:sp>
    <dsp:sp modelId="{37AF5657-4995-4B04-BC6A-5CA3E6753F20}">
      <dsp:nvSpPr>
        <dsp:cNvPr id="0" name=""/>
        <dsp:cNvSpPr/>
      </dsp:nvSpPr>
      <dsp:spPr>
        <a:xfrm>
          <a:off x="3182280" y="94670"/>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black"/>
              </a:solidFill>
              <a:latin typeface="Arial" panose="020B0604020202020204"/>
              <a:ea typeface="+mn-ea"/>
              <a:cs typeface="+mn-cs"/>
            </a:rPr>
            <a:t>6. </a:t>
          </a:r>
          <a:r>
            <a:rPr lang="en-US" sz="1100" kern="1200" dirty="0">
              <a:solidFill>
                <a:prstClr val="black"/>
              </a:solidFill>
              <a:latin typeface="Arial" panose="020B0604020202020204"/>
              <a:ea typeface="+mn-ea"/>
              <a:cs typeface="+mn-cs"/>
            </a:rPr>
            <a:t>Click on icon MCC_SAP_Dev02</a:t>
          </a:r>
        </a:p>
      </dsp:txBody>
      <dsp:txXfrm>
        <a:off x="3222160" y="134550"/>
        <a:ext cx="2189589" cy="1281849"/>
      </dsp:txXfrm>
    </dsp:sp>
    <dsp:sp modelId="{9B6D9775-88A1-401F-B3AC-DF5E082D1E0E}">
      <dsp:nvSpPr>
        <dsp:cNvPr id="0" name=""/>
        <dsp:cNvSpPr/>
      </dsp:nvSpPr>
      <dsp:spPr>
        <a:xfrm>
          <a:off x="5678565" y="494076"/>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5678565" y="606636"/>
        <a:ext cx="336771" cy="337678"/>
      </dsp:txXfrm>
    </dsp:sp>
    <dsp:sp modelId="{69037734-CBF0-402A-BECE-D5A3D1094142}">
      <dsp:nvSpPr>
        <dsp:cNvPr id="0" name=""/>
        <dsp:cNvSpPr/>
      </dsp:nvSpPr>
      <dsp:spPr>
        <a:xfrm>
          <a:off x="6359369" y="94670"/>
          <a:ext cx="2269349" cy="1361609"/>
        </a:xfrm>
        <a:prstGeom prst="roundRect">
          <a:avLst>
            <a:gd name="adj" fmla="val 10000"/>
          </a:avLst>
        </a:prstGeom>
        <a:solidFill>
          <a:schemeClr val="lt1"/>
        </a:solidFill>
        <a:ln w="12700" cap="flat" cmpd="sng" algn="ctr">
          <a:solidFill>
            <a:schemeClr val="accent2"/>
          </a:solidFill>
          <a:prstDash val="solid"/>
          <a:miter lim="800000"/>
        </a:ln>
        <a:effectLst/>
      </dsp:spPr>
      <dsp:style>
        <a:lnRef idx="2">
          <a:schemeClr val="accent2"/>
        </a:lnRef>
        <a:fillRef idx="1">
          <a:schemeClr val="lt1"/>
        </a:fillRef>
        <a:effectRef idx="0">
          <a:schemeClr val="accent2"/>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FontTx/>
            <a:buNone/>
          </a:pPr>
          <a:r>
            <a:rPr lang="en-US" sz="1600" kern="1200" dirty="0">
              <a:solidFill>
                <a:prstClr val="black"/>
              </a:solidFill>
              <a:latin typeface="Arial" panose="020B0604020202020204"/>
              <a:ea typeface="+mn-ea"/>
              <a:cs typeface="+mn-cs"/>
            </a:rPr>
            <a:t>7. </a:t>
          </a:r>
          <a:r>
            <a:rPr lang="en-US" sz="1100" kern="1200" dirty="0">
              <a:solidFill>
                <a:prstClr val="black"/>
              </a:solidFill>
              <a:latin typeface="Arial" panose="020B0604020202020204"/>
              <a:ea typeface="+mn-ea"/>
              <a:cs typeface="+mn-cs"/>
            </a:rPr>
            <a:t>Click on app icon, like SAP GUI –SAP Logon 64</a:t>
          </a:r>
        </a:p>
      </dsp:txBody>
      <dsp:txXfrm>
        <a:off x="6399249" y="134550"/>
        <a:ext cx="2189589" cy="1281849"/>
      </dsp:txXfrm>
    </dsp:sp>
    <dsp:sp modelId="{5D83ECC5-C3F3-493B-9F44-FF11889E6BE7}">
      <dsp:nvSpPr>
        <dsp:cNvPr id="0" name=""/>
        <dsp:cNvSpPr/>
      </dsp:nvSpPr>
      <dsp:spPr>
        <a:xfrm>
          <a:off x="8855654" y="494076"/>
          <a:ext cx="481102" cy="5627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8855654" y="606636"/>
        <a:ext cx="336771" cy="337678"/>
      </dsp:txXfrm>
    </dsp:sp>
    <dsp:sp modelId="{DF97A1B1-966F-4FF5-A95B-03E14BD90A60}">
      <dsp:nvSpPr>
        <dsp:cNvPr id="0" name=""/>
        <dsp:cNvSpPr/>
      </dsp:nvSpPr>
      <dsp:spPr>
        <a:xfrm>
          <a:off x="9536459" y="94670"/>
          <a:ext cx="2269349" cy="1361609"/>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488950">
            <a:lnSpc>
              <a:spcPct val="90000"/>
            </a:lnSpc>
            <a:spcBef>
              <a:spcPct val="0"/>
            </a:spcBef>
            <a:spcAft>
              <a:spcPct val="35000"/>
            </a:spcAft>
            <a:buFontTx/>
            <a:buNone/>
          </a:pPr>
          <a:r>
            <a:rPr lang="en-US" sz="1600" kern="1200" dirty="0">
              <a:solidFill>
                <a:prstClr val="black"/>
              </a:solidFill>
              <a:latin typeface="Arial" panose="020B0604020202020204"/>
              <a:ea typeface="+mn-ea"/>
              <a:cs typeface="+mn-cs"/>
            </a:rPr>
            <a:t>8. </a:t>
          </a:r>
          <a:r>
            <a:rPr lang="en-US" sz="1100" kern="1200" dirty="0">
              <a:solidFill>
                <a:prstClr val="black"/>
              </a:solidFill>
              <a:latin typeface="Arial" panose="020B0604020202020204"/>
              <a:ea typeface="+mn-ea"/>
              <a:cs typeface="+mn-cs"/>
            </a:rPr>
            <a:t>Give it a few seconds, and the apps will be ready to use</a:t>
          </a:r>
        </a:p>
      </dsp:txBody>
      <dsp:txXfrm>
        <a:off x="9576339" y="134550"/>
        <a:ext cx="2189589" cy="128184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1F4472-542F-444C-A064-1061D974E7FD}" type="datetimeFigureOut">
              <a:rPr lang="en-IN" smtClean="0"/>
              <a:t>27-07-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C37216-F5F4-4475-B41F-BED75AF11C9C}" type="slidenum">
              <a:rPr lang="en-IN" smtClean="0"/>
              <a:t>‹#›</a:t>
            </a:fld>
            <a:endParaRPr lang="en-IN"/>
          </a:p>
        </p:txBody>
      </p:sp>
    </p:spTree>
    <p:extLst>
      <p:ext uri="{BB962C8B-B14F-4D97-AF65-F5344CB8AC3E}">
        <p14:creationId xmlns:p14="http://schemas.microsoft.com/office/powerpoint/2010/main" val="281549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extLst>
      <p:ext uri="{BB962C8B-B14F-4D97-AF65-F5344CB8AC3E}">
        <p14:creationId xmlns:p14="http://schemas.microsoft.com/office/powerpoint/2010/main" val="217916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2C37216-F5F4-4475-B41F-BED75AF11C9C}" type="slidenum">
              <a:rPr lang="en-IN" smtClean="0"/>
              <a:t>13</a:t>
            </a:fld>
            <a:endParaRPr lang="en-IN"/>
          </a:p>
        </p:txBody>
      </p:sp>
    </p:spTree>
    <p:extLst>
      <p:ext uri="{BB962C8B-B14F-4D97-AF65-F5344CB8AC3E}">
        <p14:creationId xmlns:p14="http://schemas.microsoft.com/office/powerpoint/2010/main" val="3703331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Calibri" panose="020F0502020204030204" pitchFamily="34" charset="0"/>
              </a:rPr>
              <a:t>Chen, </a:t>
            </a:r>
            <a:r>
              <a:rPr lang="en-US" sz="1800" b="0" i="0" u="none" strike="noStrike" dirty="0" err="1">
                <a:solidFill>
                  <a:srgbClr val="000000"/>
                </a:solidFill>
                <a:effectLst/>
                <a:latin typeface="Calibri" panose="020F0502020204030204" pitchFamily="34" charset="0"/>
              </a:rPr>
              <a:t>Sauwei</a:t>
            </a:r>
            <a:r>
              <a:rPr lang="en-US" dirty="0"/>
              <a:t> </a:t>
            </a:r>
            <a:r>
              <a:rPr lang="en-US" sz="1800" b="0" i="0" u="none" strike="noStrike" dirty="0">
                <a:solidFill>
                  <a:srgbClr val="000000"/>
                </a:solidFill>
                <a:effectLst/>
                <a:latin typeface="Calibri" panose="020F0502020204030204" pitchFamily="34" charset="0"/>
              </a:rPr>
              <a:t>Pilot - China</a:t>
            </a:r>
            <a:r>
              <a:rPr lang="en-US" dirty="0"/>
              <a:t> </a:t>
            </a:r>
            <a:r>
              <a:rPr lang="en-US" sz="1800" b="0" i="0" u="none" strike="noStrike" dirty="0" err="1">
                <a:solidFill>
                  <a:srgbClr val="000000"/>
                </a:solidFill>
                <a:effectLst/>
                <a:latin typeface="Calibri" panose="020F0502020204030204" pitchFamily="34" charset="0"/>
              </a:rPr>
              <a:t>Mone</a:t>
            </a:r>
            <a:r>
              <a:rPr lang="en-US" sz="1800" b="0" i="0" u="none" strike="noStrike" dirty="0">
                <a:solidFill>
                  <a:srgbClr val="000000"/>
                </a:solidFill>
                <a:effectLst/>
                <a:latin typeface="Calibri" panose="020F0502020204030204" pitchFamily="34" charset="0"/>
              </a:rPr>
              <a:t>-G Project China AE</a:t>
            </a:r>
            <a:r>
              <a:rPr lang="en-US" dirty="0"/>
              <a:t> </a:t>
            </a:r>
            <a:r>
              <a:rPr lang="en-US" sz="1800" b="0" i="0" u="none" strike="noStrike" dirty="0">
                <a:solidFill>
                  <a:srgbClr val="000000"/>
                </a:solidFill>
                <a:effectLst/>
                <a:latin typeface="Calibri" panose="020F0502020204030204" pitchFamily="34" charset="0"/>
              </a:rPr>
              <a:t>Cheng, Long</a:t>
            </a:r>
            <a:r>
              <a:rPr lang="en-US" dirty="0"/>
              <a:t> </a:t>
            </a:r>
            <a:r>
              <a:rPr lang="en-US" sz="1800" b="0" i="0" u="none" strike="noStrike" dirty="0">
                <a:solidFill>
                  <a:srgbClr val="000000"/>
                </a:solidFill>
                <a:effectLst/>
                <a:latin typeface="Calibri" panose="020F0502020204030204" pitchFamily="34" charset="0"/>
              </a:rPr>
              <a:t>Pilot - China</a:t>
            </a:r>
            <a:r>
              <a:rPr lang="en-US" dirty="0"/>
              <a:t> </a:t>
            </a:r>
            <a:r>
              <a:rPr lang="en-US" sz="1800" b="0" i="0" u="none" strike="noStrike" dirty="0" err="1">
                <a:solidFill>
                  <a:srgbClr val="000000"/>
                </a:solidFill>
                <a:effectLst/>
                <a:latin typeface="Calibri" panose="020F0502020204030204" pitchFamily="34" charset="0"/>
              </a:rPr>
              <a:t>Mone</a:t>
            </a:r>
            <a:r>
              <a:rPr lang="en-US" sz="1800" b="0" i="0" u="none" strike="noStrike" dirty="0">
                <a:solidFill>
                  <a:srgbClr val="000000"/>
                </a:solidFill>
                <a:effectLst/>
                <a:latin typeface="Calibri" panose="020F0502020204030204" pitchFamily="34" charset="0"/>
              </a:rPr>
              <a:t>-G Project EM</a:t>
            </a:r>
            <a:r>
              <a:rPr lang="en-US" dirty="0"/>
              <a:t> </a:t>
            </a:r>
            <a:r>
              <a:rPr lang="en-US" sz="1800" b="0" i="0" u="none" strike="noStrike" dirty="0">
                <a:solidFill>
                  <a:srgbClr val="000000"/>
                </a:solidFill>
                <a:effectLst/>
                <a:latin typeface="Calibri" panose="020F0502020204030204" pitchFamily="34" charset="0"/>
              </a:rPr>
              <a:t>Zhou, Liang</a:t>
            </a:r>
            <a:r>
              <a:rPr lang="en-US" dirty="0"/>
              <a:t> </a:t>
            </a:r>
            <a:r>
              <a:rPr lang="en-US" sz="1800" b="0" i="0" u="none" strike="noStrike" dirty="0">
                <a:solidFill>
                  <a:srgbClr val="000000"/>
                </a:solidFill>
                <a:effectLst/>
                <a:latin typeface="Calibri" panose="020F0502020204030204" pitchFamily="34" charset="0"/>
              </a:rPr>
              <a:t>Pilot - China</a:t>
            </a:r>
            <a:r>
              <a:rPr lang="en-US" dirty="0"/>
              <a:t> </a:t>
            </a:r>
            <a:r>
              <a:rPr lang="en-US" sz="1800" b="0" i="0" u="none" strike="noStrike" dirty="0" err="1">
                <a:solidFill>
                  <a:srgbClr val="000000"/>
                </a:solidFill>
                <a:effectLst/>
                <a:latin typeface="Calibri" panose="020F0502020204030204" pitchFamily="34" charset="0"/>
              </a:rPr>
              <a:t>China</a:t>
            </a:r>
            <a:r>
              <a:rPr lang="en-US" sz="1800" b="0" i="0" u="none" strike="noStrike" dirty="0">
                <a:solidFill>
                  <a:srgbClr val="000000"/>
                </a:solidFill>
                <a:effectLst/>
                <a:latin typeface="Calibri" panose="020F0502020204030204" pitchFamily="34" charset="0"/>
              </a:rPr>
              <a:t> ERP solution owner</a:t>
            </a:r>
            <a:r>
              <a:rPr lang="en-US" dirty="0"/>
              <a:t> </a:t>
            </a:r>
            <a:r>
              <a:rPr lang="en-US" sz="1800" b="0" i="0" u="none" strike="noStrike" dirty="0">
                <a:solidFill>
                  <a:srgbClr val="000000"/>
                </a:solidFill>
                <a:effectLst/>
                <a:latin typeface="Calibri" panose="020F0502020204030204" pitchFamily="34" charset="0"/>
              </a:rPr>
              <a:t>Wang, </a:t>
            </a:r>
            <a:r>
              <a:rPr lang="en-US" sz="1800" b="0" i="0" u="none" strike="noStrike" dirty="0" err="1">
                <a:solidFill>
                  <a:srgbClr val="000000"/>
                </a:solidFill>
                <a:effectLst/>
                <a:latin typeface="Calibri" panose="020F0502020204030204" pitchFamily="34" charset="0"/>
              </a:rPr>
              <a:t>Rongrong</a:t>
            </a:r>
            <a:r>
              <a:rPr lang="en-US" dirty="0"/>
              <a:t> </a:t>
            </a:r>
            <a:r>
              <a:rPr lang="en-US" sz="1800" b="0" i="0" u="none" strike="noStrike" dirty="0">
                <a:solidFill>
                  <a:srgbClr val="000000"/>
                </a:solidFill>
                <a:effectLst/>
                <a:latin typeface="Calibri" panose="020F0502020204030204" pitchFamily="34" charset="0"/>
              </a:rPr>
              <a:t>Pilot - China</a:t>
            </a:r>
            <a:r>
              <a:rPr lang="en-US" dirty="0"/>
              <a:t> </a:t>
            </a:r>
            <a:r>
              <a:rPr lang="en-US" sz="1800" b="0" i="0" u="none" strike="noStrike" dirty="0">
                <a:solidFill>
                  <a:srgbClr val="000000"/>
                </a:solidFill>
                <a:effectLst/>
                <a:latin typeface="Calibri" panose="020F0502020204030204" pitchFamily="34" charset="0"/>
              </a:rPr>
              <a:t>SAP Controlling lead</a:t>
            </a:r>
            <a:r>
              <a:rPr lang="en-US" dirty="0"/>
              <a:t> </a:t>
            </a:r>
            <a:r>
              <a:rPr lang="en-US" sz="1800" b="0" i="0" u="none" strike="noStrike" dirty="0">
                <a:solidFill>
                  <a:srgbClr val="000000"/>
                </a:solidFill>
                <a:effectLst/>
                <a:latin typeface="Calibri" panose="020F0502020204030204" pitchFamily="34" charset="0"/>
              </a:rPr>
              <a:t>Wu, </a:t>
            </a:r>
            <a:r>
              <a:rPr lang="en-US" sz="1800" b="0" i="0" u="none" strike="noStrike" dirty="0" err="1">
                <a:solidFill>
                  <a:srgbClr val="000000"/>
                </a:solidFill>
                <a:effectLst/>
                <a:latin typeface="Calibri" panose="020F0502020204030204" pitchFamily="34" charset="0"/>
              </a:rPr>
              <a:t>Guangfeng</a:t>
            </a:r>
            <a:r>
              <a:rPr lang="en-US" sz="1800" b="0" i="0" u="none" strike="noStrike" dirty="0">
                <a:solidFill>
                  <a:srgbClr val="000000"/>
                </a:solidFill>
                <a:effectLst/>
                <a:latin typeface="Calibri" panose="020F0502020204030204" pitchFamily="34" charset="0"/>
              </a:rPr>
              <a:t> </a:t>
            </a:r>
            <a:r>
              <a:rPr lang="en-US" dirty="0"/>
              <a:t> </a:t>
            </a:r>
            <a:r>
              <a:rPr lang="en-US" sz="1800" b="0" i="0" u="none" strike="noStrike" dirty="0">
                <a:solidFill>
                  <a:srgbClr val="000000"/>
                </a:solidFill>
                <a:effectLst/>
                <a:latin typeface="Calibri" panose="020F0502020204030204" pitchFamily="34" charset="0"/>
              </a:rPr>
              <a:t>Pilot - China</a:t>
            </a:r>
            <a:r>
              <a:rPr lang="en-US" dirty="0"/>
              <a:t> </a:t>
            </a:r>
            <a:r>
              <a:rPr lang="en-US" sz="1800" b="0" i="0" u="none" strike="noStrike" dirty="0">
                <a:solidFill>
                  <a:srgbClr val="000000"/>
                </a:solidFill>
                <a:effectLst/>
                <a:latin typeface="Calibri" panose="020F0502020204030204" pitchFamily="34" charset="0"/>
              </a:rPr>
              <a:t>ERP Logistic lead</a:t>
            </a:r>
            <a:r>
              <a:rPr lang="en-US" dirty="0"/>
              <a:t> </a:t>
            </a:r>
            <a:r>
              <a:rPr lang="en-US" sz="1800" b="0" i="0" u="none" strike="noStrike" dirty="0">
                <a:solidFill>
                  <a:srgbClr val="000000"/>
                </a:solidFill>
                <a:effectLst/>
                <a:latin typeface="Calibri" panose="020F0502020204030204" pitchFamily="34" charset="0"/>
              </a:rPr>
              <a:t>Dylan Jiao</a:t>
            </a:r>
            <a:r>
              <a:rPr lang="en-US" dirty="0"/>
              <a:t> </a:t>
            </a:r>
            <a:r>
              <a:rPr lang="en-US" sz="1800" b="0" i="0" u="none" strike="noStrike" dirty="0">
                <a:solidFill>
                  <a:srgbClr val="000000"/>
                </a:solidFill>
                <a:effectLst/>
                <a:latin typeface="Calibri" panose="020F0502020204030204" pitchFamily="34" charset="0"/>
              </a:rPr>
              <a:t>Pilot - China </a:t>
            </a:r>
            <a:r>
              <a:rPr lang="en-US" dirty="0"/>
              <a:t> </a:t>
            </a:r>
            <a:r>
              <a:rPr lang="en-US" sz="1800" b="0" i="0" u="none" strike="noStrike" dirty="0">
                <a:solidFill>
                  <a:srgbClr val="000000"/>
                </a:solidFill>
                <a:effectLst/>
                <a:latin typeface="Calibri" panose="020F0502020204030204" pitchFamily="34" charset="0"/>
              </a:rPr>
              <a:t>OCM Lead</a:t>
            </a:r>
            <a:r>
              <a:rPr lang="en-US" dirty="0"/>
              <a:t> </a:t>
            </a:r>
            <a:r>
              <a:rPr lang="en-US" sz="1800" b="0" i="0" u="none" strike="noStrike" dirty="0">
                <a:solidFill>
                  <a:srgbClr val="000000"/>
                </a:solidFill>
                <a:effectLst/>
                <a:latin typeface="Calibri" panose="020F0502020204030204" pitchFamily="34" charset="0"/>
              </a:rPr>
              <a:t>Fu </a:t>
            </a:r>
            <a:r>
              <a:rPr lang="en-US" sz="1800" b="0" i="0" u="none" strike="noStrike" dirty="0" err="1">
                <a:solidFill>
                  <a:srgbClr val="000000"/>
                </a:solidFill>
                <a:effectLst/>
                <a:latin typeface="Calibri" panose="020F0502020204030204" pitchFamily="34" charset="0"/>
              </a:rPr>
              <a:t>Tijun</a:t>
            </a:r>
            <a:r>
              <a:rPr lang="en-US" dirty="0"/>
              <a:t> </a:t>
            </a:r>
            <a:r>
              <a:rPr lang="en-US" sz="1800" b="0" i="0" u="none" strike="noStrike" dirty="0">
                <a:solidFill>
                  <a:srgbClr val="000000"/>
                </a:solidFill>
                <a:effectLst/>
                <a:latin typeface="Calibri" panose="020F0502020204030204" pitchFamily="34" charset="0"/>
              </a:rPr>
              <a:t>Pilot - China </a:t>
            </a:r>
            <a:r>
              <a:rPr lang="en-US" dirty="0"/>
              <a:t> </a:t>
            </a:r>
            <a:r>
              <a:rPr lang="en-US" sz="1800" b="0" i="0" u="none" strike="noStrike" dirty="0">
                <a:solidFill>
                  <a:srgbClr val="000000"/>
                </a:solidFill>
                <a:effectLst/>
                <a:latin typeface="Calibri" panose="020F0502020204030204" pitchFamily="34" charset="0"/>
              </a:rPr>
              <a:t>SAP - Materials Management Lead 1 (China)</a:t>
            </a:r>
            <a:r>
              <a:rPr lang="en-US" dirty="0"/>
              <a:t> </a:t>
            </a:r>
            <a:r>
              <a:rPr lang="en-US" sz="1800" b="0" i="0" u="none" strike="noStrike" dirty="0">
                <a:solidFill>
                  <a:srgbClr val="000000"/>
                </a:solidFill>
                <a:effectLst/>
                <a:latin typeface="Calibri" panose="020F0502020204030204" pitchFamily="34" charset="0"/>
              </a:rPr>
              <a:t>Jiang Nan</a:t>
            </a:r>
            <a:r>
              <a:rPr lang="en-US" dirty="0"/>
              <a:t> </a:t>
            </a:r>
            <a:r>
              <a:rPr lang="en-US" sz="1800" b="0" i="0" u="none" strike="noStrike" dirty="0">
                <a:solidFill>
                  <a:srgbClr val="000000"/>
                </a:solidFill>
                <a:effectLst/>
                <a:latin typeface="Calibri" panose="020F0502020204030204" pitchFamily="34" charset="0"/>
              </a:rPr>
              <a:t>Pilot - China </a:t>
            </a:r>
            <a:r>
              <a:rPr lang="en-US" dirty="0"/>
              <a:t> </a:t>
            </a:r>
            <a:r>
              <a:rPr lang="en-US" sz="1800" b="0" i="0" u="none" strike="noStrike" dirty="0">
                <a:solidFill>
                  <a:srgbClr val="000000"/>
                </a:solidFill>
                <a:effectLst/>
                <a:latin typeface="Calibri" panose="020F0502020204030204" pitchFamily="34" charset="0"/>
              </a:rPr>
              <a:t>SAP - Finance Lead 1 (China)</a:t>
            </a:r>
            <a:r>
              <a:rPr lang="en-US" dirty="0"/>
              <a:t> </a:t>
            </a:r>
            <a:r>
              <a:rPr lang="en-US" sz="1800" b="0" i="0" u="none" strike="noStrike" dirty="0">
                <a:solidFill>
                  <a:srgbClr val="000000"/>
                </a:solidFill>
                <a:effectLst/>
                <a:latin typeface="Calibri" panose="020F0502020204030204" pitchFamily="34" charset="0"/>
              </a:rPr>
              <a:t>Liu Qin</a:t>
            </a:r>
            <a:r>
              <a:rPr lang="en-US" dirty="0"/>
              <a:t> </a:t>
            </a:r>
            <a:r>
              <a:rPr lang="en-US" sz="1800" b="0" i="0" u="none" strike="noStrike" dirty="0">
                <a:solidFill>
                  <a:srgbClr val="000000"/>
                </a:solidFill>
                <a:effectLst/>
                <a:latin typeface="Calibri" panose="020F0502020204030204" pitchFamily="34" charset="0"/>
              </a:rPr>
              <a:t>Pilot - China </a:t>
            </a:r>
            <a:r>
              <a:rPr lang="en-US" dirty="0"/>
              <a:t> </a:t>
            </a:r>
            <a:r>
              <a:rPr lang="en-US" sz="1800" b="0" i="0" u="none" strike="noStrike" dirty="0">
                <a:solidFill>
                  <a:srgbClr val="000000"/>
                </a:solidFill>
                <a:effectLst/>
                <a:latin typeface="Calibri" panose="020F0502020204030204" pitchFamily="34" charset="0"/>
              </a:rPr>
              <a:t>SAP - Sales &amp; Distribution Lead 1 (China)</a:t>
            </a:r>
            <a:r>
              <a:rPr lang="en-US" dirty="0"/>
              <a:t> </a:t>
            </a:r>
            <a:r>
              <a:rPr lang="en-US" sz="1800" b="0" i="0" u="none" strike="noStrike" dirty="0">
                <a:solidFill>
                  <a:srgbClr val="000000"/>
                </a:solidFill>
                <a:effectLst/>
                <a:latin typeface="Calibri" panose="020F0502020204030204" pitchFamily="34" charset="0"/>
              </a:rPr>
              <a:t>Huang, Xinyi</a:t>
            </a:r>
            <a:r>
              <a:rPr lang="en-US" dirty="0"/>
              <a:t> </a:t>
            </a:r>
            <a:r>
              <a:rPr lang="en-US" sz="1800" b="0" i="0" u="none" strike="noStrike" dirty="0">
                <a:solidFill>
                  <a:srgbClr val="000000"/>
                </a:solidFill>
                <a:effectLst/>
                <a:latin typeface="Calibri" panose="020F0502020204030204" pitchFamily="34" charset="0"/>
              </a:rPr>
              <a:t>Pilot - China </a:t>
            </a:r>
            <a:r>
              <a:rPr lang="en-US" dirty="0"/>
              <a:t> </a:t>
            </a:r>
            <a:r>
              <a:rPr lang="en-US" sz="1800" b="0" i="0" u="none" strike="noStrike" dirty="0">
                <a:solidFill>
                  <a:srgbClr val="000000"/>
                </a:solidFill>
                <a:effectLst/>
                <a:latin typeface="Calibri" panose="020F0502020204030204" pitchFamily="34" charset="0"/>
              </a:rPr>
              <a:t>PMO  (China)</a:t>
            </a:r>
            <a:r>
              <a:rPr lang="en-US" dirty="0"/>
              <a:t> </a:t>
            </a:r>
          </a:p>
        </p:txBody>
      </p:sp>
      <p:sp>
        <p:nvSpPr>
          <p:cNvPr id="4" name="Slide Number Placeholder 3"/>
          <p:cNvSpPr>
            <a:spLocks noGrp="1"/>
          </p:cNvSpPr>
          <p:nvPr>
            <p:ph type="sldNum" sz="quarter" idx="5"/>
          </p:nvPr>
        </p:nvSpPr>
        <p:spPr/>
        <p:txBody>
          <a:bodyPr/>
          <a:lstStyle/>
          <a:p>
            <a:fld id="{7E07CBF5-02AC-44F7-8B2B-A924BD23BA85}" type="slidenum">
              <a:rPr lang="en-US" smtClean="0"/>
              <a:t>18</a:t>
            </a:fld>
            <a:endParaRPr lang="en-US"/>
          </a:p>
        </p:txBody>
      </p:sp>
    </p:spTree>
    <p:extLst>
      <p:ext uri="{BB962C8B-B14F-4D97-AF65-F5344CB8AC3E}">
        <p14:creationId xmlns:p14="http://schemas.microsoft.com/office/powerpoint/2010/main" val="3787772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2C37216-F5F4-4475-B41F-BED75AF11C9C}" type="slidenum">
              <a:rPr lang="en-IN" smtClean="0"/>
              <a:t>23</a:t>
            </a:fld>
            <a:endParaRPr lang="en-IN"/>
          </a:p>
        </p:txBody>
      </p:sp>
    </p:spTree>
    <p:extLst>
      <p:ext uri="{BB962C8B-B14F-4D97-AF65-F5344CB8AC3E}">
        <p14:creationId xmlns:p14="http://schemas.microsoft.com/office/powerpoint/2010/main" val="1202321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2C37216-F5F4-4475-B41F-BED75AF11C9C}" type="slidenum">
              <a:rPr lang="en-IN" smtClean="0"/>
              <a:t>24</a:t>
            </a:fld>
            <a:endParaRPr lang="en-IN"/>
          </a:p>
        </p:txBody>
      </p:sp>
    </p:spTree>
    <p:extLst>
      <p:ext uri="{BB962C8B-B14F-4D97-AF65-F5344CB8AC3E}">
        <p14:creationId xmlns:p14="http://schemas.microsoft.com/office/powerpoint/2010/main" val="3145493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2C37216-F5F4-4475-B41F-BED75AF11C9C}" type="slidenum">
              <a:rPr lang="en-IN" smtClean="0"/>
              <a:t>27</a:t>
            </a:fld>
            <a:endParaRPr lang="en-IN"/>
          </a:p>
        </p:txBody>
      </p:sp>
    </p:spTree>
    <p:extLst>
      <p:ext uri="{BB962C8B-B14F-4D97-AF65-F5344CB8AC3E}">
        <p14:creationId xmlns:p14="http://schemas.microsoft.com/office/powerpoint/2010/main" val="2827718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2C37216-F5F4-4475-B41F-BED75AF11C9C}" type="slidenum">
              <a:rPr lang="en-IN" smtClean="0"/>
              <a:t>35</a:t>
            </a:fld>
            <a:endParaRPr lang="en-IN"/>
          </a:p>
        </p:txBody>
      </p:sp>
    </p:spTree>
    <p:extLst>
      <p:ext uri="{BB962C8B-B14F-4D97-AF65-F5344CB8AC3E}">
        <p14:creationId xmlns:p14="http://schemas.microsoft.com/office/powerpoint/2010/main" val="23565170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pn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4" y="728663"/>
            <a:ext cx="11953876" cy="6012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16000" y="4188146"/>
            <a:ext cx="11160000" cy="477061"/>
          </a:xfrm>
          <a:prstGeom prst="rect">
            <a:avLst/>
          </a:prstGeom>
          <a:noFill/>
        </p:spPr>
        <p:txBody>
          <a:bodyPr wrap="square" lIns="270000" tIns="54000" rIns="234000" bIns="144000" anchor="t" anchorCtr="0">
            <a:spAutoFit/>
          </a:bodyPr>
          <a:lstStyle>
            <a:lvl1pPr marL="0" indent="0" defTabSz="158402">
              <a:lnSpc>
                <a:spcPct val="100000"/>
              </a:lnSpc>
              <a:spcBef>
                <a:spcPts val="500"/>
              </a:spcBef>
              <a:buNone/>
              <a:defRPr sz="1801" b="0" spc="-30" baseline="0">
                <a:latin typeface="+mj-lt"/>
                <a:ea typeface="+mj-ea"/>
              </a:defRPr>
            </a:lvl1pPr>
            <a:lvl2pPr marL="0" indent="0" defTabSz="158402">
              <a:buNone/>
              <a:defRPr sz="1401" b="1"/>
            </a:lvl2pPr>
            <a:lvl3pPr marL="0" indent="0" defTabSz="158402">
              <a:buNone/>
              <a:defRPr b="1"/>
            </a:lvl3pPr>
            <a:lvl4pPr marL="1371617" indent="0">
              <a:buNone/>
              <a:defRPr/>
            </a:lvl4pPr>
            <a:lvl5pPr marL="1828823" indent="0">
              <a:buNone/>
              <a:defRPr/>
            </a:lvl5pPr>
          </a:lstStyle>
          <a:p>
            <a:pPr lvl="0"/>
            <a:r>
              <a:rPr kumimoji="1" lang="en-US" altLang="ja-JP"/>
              <a:t>Subtitle text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16000" y="2682555"/>
            <a:ext cx="11160000" cy="1492258"/>
          </a:xfrm>
        </p:spPr>
        <p:txBody>
          <a:bodyPr lIns="234000" tIns="234000" rIns="234000" bIns="125999" anchor="ctr"/>
          <a:lstStyle>
            <a:lvl1pPr>
              <a:defRPr sz="4000"/>
            </a:lvl1pPr>
          </a:lstStyle>
          <a:p>
            <a:r>
              <a:rPr lang="en-US" altLang="ja-JP" sz="4000"/>
              <a:t>Section title</a:t>
            </a:r>
            <a:br>
              <a:rPr lang="en-US" altLang="ja-JP" sz="4000"/>
            </a:br>
            <a:r>
              <a:rPr lang="en-US" altLang="ja-JP" sz="4000"/>
              <a:t>Arial 40pt / Line spacing 1</a:t>
            </a:r>
            <a:endParaRPr kumimoji="1" lang="ja-JP" altLang="en-US"/>
          </a:p>
        </p:txBody>
      </p:sp>
      <p:cxnSp>
        <p:nvCxnSpPr>
          <p:cNvPr id="10" name="直線コネクタ 9">
            <a:extLst>
              <a:ext uri="{FF2B5EF4-FFF2-40B4-BE49-F238E27FC236}">
                <a16:creationId xmlns:a16="http://schemas.microsoft.com/office/drawing/2014/main" id="{25D10DD9-2B3B-4B00-5F26-E421D0081912}"/>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スライド番号プレースホルダー 3">
            <a:extLst>
              <a:ext uri="{FF2B5EF4-FFF2-40B4-BE49-F238E27FC236}">
                <a16:creationId xmlns:a16="http://schemas.microsoft.com/office/drawing/2014/main" id="{DE1F0C62-7BF4-1436-B1EA-28526CF3CF40}"/>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7" name="フッター プレースホルダー 2">
            <a:extLst>
              <a:ext uri="{FF2B5EF4-FFF2-40B4-BE49-F238E27FC236}">
                <a16:creationId xmlns:a16="http://schemas.microsoft.com/office/drawing/2014/main" id="{0397DCAB-F6B9-B342-2AF3-8E3D3F333E39}"/>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spTree>
    <p:extLst>
      <p:ext uri="{BB962C8B-B14F-4D97-AF65-F5344CB8AC3E}">
        <p14:creationId xmlns:p14="http://schemas.microsoft.com/office/powerpoint/2010/main" val="37317336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Only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E4AAEB-3EB7-45B6-8E38-0D1B04111D09}"/>
              </a:ext>
            </a:extLst>
          </p:cNvPr>
          <p:cNvSpPr/>
          <p:nvPr userDrawn="1"/>
        </p:nvSpPr>
        <p:spPr>
          <a:xfrm flipH="1">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 name="直線コネクタ 25">
            <a:extLst>
              <a:ext uri="{FF2B5EF4-FFF2-40B4-BE49-F238E27FC236}">
                <a16:creationId xmlns:a16="http://schemas.microsoft.com/office/drawing/2014/main" id="{E63FEDED-76B4-47CF-733B-39C1EA1A1A4E}"/>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タイトル 1">
            <a:extLst>
              <a:ext uri="{FF2B5EF4-FFF2-40B4-BE49-F238E27FC236}">
                <a16:creationId xmlns:a16="http://schemas.microsoft.com/office/drawing/2014/main" id="{6B4AB6BB-ABE0-22FC-1499-52580D99DB7A}"/>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
        <p:nvSpPr>
          <p:cNvPr id="9" name="スライド番号プレースホルダー 3">
            <a:extLst>
              <a:ext uri="{FF2B5EF4-FFF2-40B4-BE49-F238E27FC236}">
                <a16:creationId xmlns:a16="http://schemas.microsoft.com/office/drawing/2014/main" id="{7E7ECB34-07B0-F413-BDD9-6C183A9DE29D}"/>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10" name="フッター プレースホルダー 2">
            <a:extLst>
              <a:ext uri="{FF2B5EF4-FFF2-40B4-BE49-F238E27FC236}">
                <a16:creationId xmlns:a16="http://schemas.microsoft.com/office/drawing/2014/main" id="{8C9F89B5-D216-A17E-8961-43F393E13A78}"/>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10243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lue_circular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dirty="0"/>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normAutofit/>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en" altLang="ja-JP" dirty="0"/>
              <a:t>Text Arial 16pt / Line spacing 1.5 </a:t>
            </a:r>
            <a:br>
              <a:rPr kumimoji="1" lang="en-US" altLang="ja-JP" dirty="0"/>
            </a:br>
            <a:r>
              <a:rPr kumimoji="1" lang="en-US" altLang="ja-JP" dirty="0"/>
              <a:t>Theme Color</a:t>
            </a:r>
            <a:r>
              <a:rPr kumimoji="1" lang="ja-JP" altLang="en-US"/>
              <a:t>：</a:t>
            </a:r>
            <a:r>
              <a:rPr kumimoji="1" lang="en-US" altLang="ja-JP" dirty="0"/>
              <a:t>Blue and Cool gray </a:t>
            </a:r>
          </a:p>
        </p:txBody>
      </p:sp>
      <p:pic>
        <p:nvPicPr>
          <p:cNvPr id="2" name="図 1" descr="アイコン&#10;&#10;低い精度で自動的に生成された説明">
            <a:extLst>
              <a:ext uri="{FF2B5EF4-FFF2-40B4-BE49-F238E27FC236}">
                <a16:creationId xmlns:a16="http://schemas.microsoft.com/office/drawing/2014/main" id="{EF14A615-2ACC-35E3-30F4-533483BE78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cxnSp>
        <p:nvCxnSpPr>
          <p:cNvPr id="3" name="直線コネクタ 25">
            <a:extLst>
              <a:ext uri="{FF2B5EF4-FFF2-40B4-BE49-F238E27FC236}">
                <a16:creationId xmlns:a16="http://schemas.microsoft.com/office/drawing/2014/main" id="{2D40C2B4-905C-BEF5-F592-5621E8AED46B}"/>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スライド番号プレースホルダー 3">
            <a:extLst>
              <a:ext uri="{FF2B5EF4-FFF2-40B4-BE49-F238E27FC236}">
                <a16:creationId xmlns:a16="http://schemas.microsoft.com/office/drawing/2014/main" id="{99F7E3B9-4C83-454B-692D-5AA61D3F10DD}"/>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8" name="フッター プレースホルダー 2">
            <a:extLst>
              <a:ext uri="{FF2B5EF4-FFF2-40B4-BE49-F238E27FC236}">
                <a16:creationId xmlns:a16="http://schemas.microsoft.com/office/drawing/2014/main" id="{B4EBA371-830A-F2A8-93D4-DFA8F48E4A11}"/>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221210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スライド番号プレースホルダー 3">
            <a:extLst>
              <a:ext uri="{FF2B5EF4-FFF2-40B4-BE49-F238E27FC236}">
                <a16:creationId xmlns:a16="http://schemas.microsoft.com/office/drawing/2014/main" id="{8DE264BC-6597-4636-8C47-8DF22903A96F}"/>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6" name="フッター プレースホルダー 2">
            <a:extLst>
              <a:ext uri="{FF2B5EF4-FFF2-40B4-BE49-F238E27FC236}">
                <a16:creationId xmlns:a16="http://schemas.microsoft.com/office/drawing/2014/main" id="{AC33749D-7060-466C-B26D-D1C32E347BCF}"/>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7" name="タイトル 1">
            <a:extLst>
              <a:ext uri="{FF2B5EF4-FFF2-40B4-BE49-F238E27FC236}">
                <a16:creationId xmlns:a16="http://schemas.microsoft.com/office/drawing/2014/main" id="{494ADF70-506F-4712-AF2B-089F81EC34B7}"/>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839473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16000" y="4188145"/>
            <a:ext cx="11160000" cy="476933"/>
          </a:xfrm>
          <a:prstGeom prst="rect">
            <a:avLst/>
          </a:prstGeom>
          <a:noFill/>
        </p:spPr>
        <p:txBody>
          <a:bodyPr wrap="square" lIns="270000" tIns="54000" rIns="234000" bIns="144000" anchor="t" anchorCtr="0">
            <a:sp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en-US" altLang="ja-JP"/>
              <a:t>Subtitle text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16000" y="2682555"/>
            <a:ext cx="11160000" cy="1492258"/>
          </a:xfrm>
        </p:spPr>
        <p:txBody>
          <a:bodyPr lIns="234000" tIns="234000" rIns="234000" bIns="125999" anchor="ctr"/>
          <a:lstStyle>
            <a:lvl1pPr>
              <a:defRPr sz="4000"/>
            </a:lvl1pPr>
          </a:lstStyle>
          <a:p>
            <a:r>
              <a:rPr lang="en-US" altLang="ja-JP" sz="4000"/>
              <a:t>Section title</a:t>
            </a:r>
            <a:br>
              <a:rPr lang="en-US" altLang="ja-JP" sz="4000"/>
            </a:br>
            <a:r>
              <a:rPr lang="en-US" altLang="ja-JP" sz="4000"/>
              <a:t>Arial 40pt / Line spacing 1</a:t>
            </a:r>
            <a:endParaRPr kumimoji="1" lang="ja-JP" altLang="en-US"/>
          </a:p>
        </p:txBody>
      </p:sp>
      <p:cxnSp>
        <p:nvCxnSpPr>
          <p:cNvPr id="10" name="直線コネクタ 9">
            <a:extLst>
              <a:ext uri="{FF2B5EF4-FFF2-40B4-BE49-F238E27FC236}">
                <a16:creationId xmlns:a16="http://schemas.microsoft.com/office/drawing/2014/main" id="{25D10DD9-2B3B-4B00-5F26-E421D0081912}"/>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スライド番号プレースホルダー 3">
            <a:extLst>
              <a:ext uri="{FF2B5EF4-FFF2-40B4-BE49-F238E27FC236}">
                <a16:creationId xmlns:a16="http://schemas.microsoft.com/office/drawing/2014/main" id="{DE1F0C62-7BF4-1436-B1EA-28526CF3CF40}"/>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7" name="フッター プレースホルダー 2">
            <a:extLst>
              <a:ext uri="{FF2B5EF4-FFF2-40B4-BE49-F238E27FC236}">
                <a16:creationId xmlns:a16="http://schemas.microsoft.com/office/drawing/2014/main" id="{0397DCAB-F6B9-B342-2AF3-8E3D3F333E39}"/>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287988941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AE3E1CD6-5D8D-268E-42EC-A8EC858EBB44}"/>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8626BE28-3A0E-DBF8-86C1-201ADE114DDE}"/>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cxnSp>
        <p:nvCxnSpPr>
          <p:cNvPr id="10" name="直線コネクタ 9">
            <a:extLst>
              <a:ext uri="{FF2B5EF4-FFF2-40B4-BE49-F238E27FC236}">
                <a16:creationId xmlns:a16="http://schemas.microsoft.com/office/drawing/2014/main" id="{E7E08365-6A34-7C6F-FC0A-1F2887B50CE6}"/>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4" name="テキスト プレースホルダー 13">
            <a:extLst>
              <a:ext uri="{FF2B5EF4-FFF2-40B4-BE49-F238E27FC236}">
                <a16:creationId xmlns:a16="http://schemas.microsoft.com/office/drawing/2014/main" id="{27DF148C-7643-3E48-57EE-E10AAF0E4F80}"/>
              </a:ext>
            </a:extLst>
          </p:cNvPr>
          <p:cNvSpPr>
            <a:spLocks noGrp="1"/>
          </p:cNvSpPr>
          <p:nvPr>
            <p:ph type="body" sz="quarter" idx="11" hasCustomPrompt="1"/>
          </p:nvPr>
        </p:nvSpPr>
        <p:spPr>
          <a:xfrm>
            <a:off x="228988" y="1197288"/>
            <a:ext cx="11736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11" name="フッター プレースホルダー 2">
            <a:extLst>
              <a:ext uri="{FF2B5EF4-FFF2-40B4-BE49-F238E27FC236}">
                <a16:creationId xmlns:a16="http://schemas.microsoft.com/office/drawing/2014/main" id="{9B73906A-71C3-6DE2-A8BC-3EF36EC25DF9}"/>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CCDAAD4A-7BA9-4427-B347-39122421020C}"/>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539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16" name="テキスト プレースホルダー 13">
            <a:extLst>
              <a:ext uri="{FF2B5EF4-FFF2-40B4-BE49-F238E27FC236}">
                <a16:creationId xmlns:a16="http://schemas.microsoft.com/office/drawing/2014/main" id="{00F0339F-31B1-E853-007B-4316C81C0E2E}"/>
              </a:ext>
            </a:extLst>
          </p:cNvPr>
          <p:cNvSpPr>
            <a:spLocks noGrp="1"/>
          </p:cNvSpPr>
          <p:nvPr>
            <p:ph type="body" sz="quarter" idx="11" hasCustomPrompt="1"/>
          </p:nvPr>
        </p:nvSpPr>
        <p:spPr>
          <a:xfrm>
            <a:off x="228988" y="1197288"/>
            <a:ext cx="5760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20" name="テキスト プレースホルダー 13">
            <a:extLst>
              <a:ext uri="{FF2B5EF4-FFF2-40B4-BE49-F238E27FC236}">
                <a16:creationId xmlns:a16="http://schemas.microsoft.com/office/drawing/2014/main" id="{8B8C0042-761E-BFFD-163D-6ADF21538D65}"/>
              </a:ext>
            </a:extLst>
          </p:cNvPr>
          <p:cNvSpPr>
            <a:spLocks noGrp="1"/>
          </p:cNvSpPr>
          <p:nvPr>
            <p:ph type="body" sz="quarter" idx="12" hasCustomPrompt="1"/>
          </p:nvPr>
        </p:nvSpPr>
        <p:spPr>
          <a:xfrm>
            <a:off x="6204988" y="1197288"/>
            <a:ext cx="5760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18" name="正方形/長方形 17">
            <a:extLst>
              <a:ext uri="{FF2B5EF4-FFF2-40B4-BE49-F238E27FC236}">
                <a16:creationId xmlns:a16="http://schemas.microsoft.com/office/drawing/2014/main" id="{17DB059A-993A-AA54-0335-384E00B89AAC}"/>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1" name="直線コネクタ 20">
            <a:extLst>
              <a:ext uri="{FF2B5EF4-FFF2-40B4-BE49-F238E27FC236}">
                <a16:creationId xmlns:a16="http://schemas.microsoft.com/office/drawing/2014/main" id="{5871354C-6BF6-FA2E-3C77-84B364ABC070}"/>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スライド番号プレースホルダー 3">
            <a:extLst>
              <a:ext uri="{FF2B5EF4-FFF2-40B4-BE49-F238E27FC236}">
                <a16:creationId xmlns:a16="http://schemas.microsoft.com/office/drawing/2014/main" id="{BD9A1FA5-B487-E837-4D52-49908F72E19E}"/>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F9D6B515-4B40-5A7C-4E93-A772ADB5912C}"/>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9" name="直線コネクタ 6">
            <a:extLst>
              <a:ext uri="{FF2B5EF4-FFF2-40B4-BE49-F238E27FC236}">
                <a16:creationId xmlns:a16="http://schemas.microsoft.com/office/drawing/2014/main" id="{0415F5C1-00C1-4772-ADBC-5B5043DF4F47}"/>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DC8ED10C-73EE-41D0-9996-844E3273EF9C}"/>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578627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3">
    <p:spTree>
      <p:nvGrpSpPr>
        <p:cNvPr id="1" name=""/>
        <p:cNvGrpSpPr/>
        <p:nvPr/>
      </p:nvGrpSpPr>
      <p:grpSpPr>
        <a:xfrm>
          <a:off x="0" y="0"/>
          <a:ext cx="0" cy="0"/>
          <a:chOff x="0" y="0"/>
          <a:chExt cx="0" cy="0"/>
        </a:xfrm>
      </p:grpSpPr>
      <p:sp>
        <p:nvSpPr>
          <p:cNvPr id="17" name="図プレースホルダー 3">
            <a:extLst>
              <a:ext uri="{FF2B5EF4-FFF2-40B4-BE49-F238E27FC236}">
                <a16:creationId xmlns:a16="http://schemas.microsoft.com/office/drawing/2014/main" id="{25496A93-1D62-25AF-574D-09D81F48E3DC}"/>
              </a:ext>
            </a:extLst>
          </p:cNvPr>
          <p:cNvSpPr>
            <a:spLocks noGrp="1"/>
          </p:cNvSpPr>
          <p:nvPr>
            <p:ph type="pic" sz="quarter" idx="13" hasCustomPrompt="1"/>
          </p:nvPr>
        </p:nvSpPr>
        <p:spPr>
          <a:xfrm>
            <a:off x="228988" y="1197288"/>
            <a:ext cx="11736000" cy="5040000"/>
          </a:xfrm>
        </p:spPr>
        <p:txBody>
          <a:bodyPr lIns="180000" tIns="72000" rIns="180000">
            <a:normAutofit/>
          </a:bodyPr>
          <a:lstStyle>
            <a:lvl1pPr>
              <a:buNone/>
              <a:defRPr sz="1600"/>
            </a:lvl1pPr>
          </a:lstStyle>
          <a:p>
            <a:pPr lvl="0"/>
            <a:r>
              <a:rPr kumimoji="1" lang="en-US" altLang="ja-JP"/>
              <a:t> Picture, graphic</a:t>
            </a:r>
            <a:endParaRPr kumimoji="1" lang="ja-JP" altLang="en-US"/>
          </a:p>
        </p:txBody>
      </p:sp>
      <p:sp>
        <p:nvSpPr>
          <p:cNvPr id="18" name="正方形/長方形 17">
            <a:extLst>
              <a:ext uri="{FF2B5EF4-FFF2-40B4-BE49-F238E27FC236}">
                <a16:creationId xmlns:a16="http://schemas.microsoft.com/office/drawing/2014/main" id="{1A18FD81-88FA-8D10-93A4-CA0238D592BD}"/>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直線コネクタ 18">
            <a:extLst>
              <a:ext uri="{FF2B5EF4-FFF2-40B4-BE49-F238E27FC236}">
                <a16:creationId xmlns:a16="http://schemas.microsoft.com/office/drawing/2014/main" id="{EEA4F11D-ADDD-D51A-E30D-BAE8D43EB1FA}"/>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スライド番号プレースホルダー 3">
            <a:extLst>
              <a:ext uri="{FF2B5EF4-FFF2-40B4-BE49-F238E27FC236}">
                <a16:creationId xmlns:a16="http://schemas.microsoft.com/office/drawing/2014/main" id="{5A7337B3-8626-D6AB-2DD1-FE9C59C99FD4}"/>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9" name="フッター プレースホルダー 2">
            <a:extLst>
              <a:ext uri="{FF2B5EF4-FFF2-40B4-BE49-F238E27FC236}">
                <a16:creationId xmlns:a16="http://schemas.microsoft.com/office/drawing/2014/main" id="{4DE674D0-D653-B2BE-0C77-927C85C6F9A2}"/>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506FFF56-D599-4EA1-8994-0B29B8D82A53}"/>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495C8694-FC00-4C3B-9DE2-1E2CB5824B07}"/>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3539459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ic 1">
    <p:spTree>
      <p:nvGrpSpPr>
        <p:cNvPr id="1" name=""/>
        <p:cNvGrpSpPr/>
        <p:nvPr/>
      </p:nvGrpSpPr>
      <p:grpSpPr>
        <a:xfrm>
          <a:off x="0" y="0"/>
          <a:ext cx="0" cy="0"/>
          <a:chOff x="0" y="0"/>
          <a:chExt cx="0" cy="0"/>
        </a:xfrm>
      </p:grpSpPr>
      <p:sp>
        <p:nvSpPr>
          <p:cNvPr id="22" name="テキスト プレースホルダー 13">
            <a:extLst>
              <a:ext uri="{FF2B5EF4-FFF2-40B4-BE49-F238E27FC236}">
                <a16:creationId xmlns:a16="http://schemas.microsoft.com/office/drawing/2014/main" id="{127C7B05-3C0F-B20D-2360-54A754ACA7E7}"/>
              </a:ext>
            </a:extLst>
          </p:cNvPr>
          <p:cNvSpPr>
            <a:spLocks noGrp="1"/>
          </p:cNvSpPr>
          <p:nvPr>
            <p:ph type="body" sz="quarter" idx="11" hasCustomPrompt="1"/>
          </p:nvPr>
        </p:nvSpPr>
        <p:spPr>
          <a:xfrm>
            <a:off x="2604988" y="1203105"/>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1. Topic title  Arial 18pt</a:t>
            </a:r>
          </a:p>
        </p:txBody>
      </p:sp>
      <p:sp>
        <p:nvSpPr>
          <p:cNvPr id="16" name="テキスト プレースホルダー 13">
            <a:extLst>
              <a:ext uri="{FF2B5EF4-FFF2-40B4-BE49-F238E27FC236}">
                <a16:creationId xmlns:a16="http://schemas.microsoft.com/office/drawing/2014/main" id="{08E509E5-6002-968F-9689-949702FAAA3C}"/>
              </a:ext>
            </a:extLst>
          </p:cNvPr>
          <p:cNvSpPr>
            <a:spLocks noGrp="1"/>
          </p:cNvSpPr>
          <p:nvPr>
            <p:ph type="body" sz="quarter" idx="17" hasCustomPrompt="1"/>
          </p:nvPr>
        </p:nvSpPr>
        <p:spPr>
          <a:xfrm>
            <a:off x="3324988" y="165691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  Arial 16pt</a:t>
            </a:r>
          </a:p>
        </p:txBody>
      </p:sp>
      <p:sp>
        <p:nvSpPr>
          <p:cNvPr id="25" name="正方形/長方形 24">
            <a:extLst>
              <a:ext uri="{FF2B5EF4-FFF2-40B4-BE49-F238E27FC236}">
                <a16:creationId xmlns:a16="http://schemas.microsoft.com/office/drawing/2014/main" id="{BA4C5561-56F1-2BE3-183C-F2F6B7D263C1}"/>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6" name="直線コネクタ 25">
            <a:extLst>
              <a:ext uri="{FF2B5EF4-FFF2-40B4-BE49-F238E27FC236}">
                <a16:creationId xmlns:a16="http://schemas.microsoft.com/office/drawing/2014/main" id="{59B74494-99C6-7456-B8EB-CA07D45A6FE5}"/>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スライド番号プレースホルダー 3">
            <a:extLst>
              <a:ext uri="{FF2B5EF4-FFF2-40B4-BE49-F238E27FC236}">
                <a16:creationId xmlns:a16="http://schemas.microsoft.com/office/drawing/2014/main" id="{4E8E9449-5E24-597D-2466-BC4A4D331AB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6" name="テキスト プレースホルダー 13">
            <a:extLst>
              <a:ext uri="{FF2B5EF4-FFF2-40B4-BE49-F238E27FC236}">
                <a16:creationId xmlns:a16="http://schemas.microsoft.com/office/drawing/2014/main" id="{862BB816-54BD-4205-E9D3-A4AB25995AD7}"/>
              </a:ext>
            </a:extLst>
          </p:cNvPr>
          <p:cNvSpPr>
            <a:spLocks noGrp="1"/>
          </p:cNvSpPr>
          <p:nvPr>
            <p:ph type="body" sz="quarter" idx="18" hasCustomPrompt="1"/>
          </p:nvPr>
        </p:nvSpPr>
        <p:spPr>
          <a:xfrm>
            <a:off x="2604988" y="2254032"/>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2. Topic title</a:t>
            </a:r>
          </a:p>
        </p:txBody>
      </p:sp>
      <p:sp>
        <p:nvSpPr>
          <p:cNvPr id="37" name="テキスト プレースホルダー 13">
            <a:extLst>
              <a:ext uri="{FF2B5EF4-FFF2-40B4-BE49-F238E27FC236}">
                <a16:creationId xmlns:a16="http://schemas.microsoft.com/office/drawing/2014/main" id="{9BB17FC1-42EC-2674-0BCD-AF1B06257F3B}"/>
              </a:ext>
            </a:extLst>
          </p:cNvPr>
          <p:cNvSpPr>
            <a:spLocks noGrp="1"/>
          </p:cNvSpPr>
          <p:nvPr>
            <p:ph type="body" sz="quarter" idx="19" hasCustomPrompt="1"/>
          </p:nvPr>
        </p:nvSpPr>
        <p:spPr>
          <a:xfrm>
            <a:off x="3324988" y="2707841"/>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0" name="テキスト プレースホルダー 13">
            <a:extLst>
              <a:ext uri="{FF2B5EF4-FFF2-40B4-BE49-F238E27FC236}">
                <a16:creationId xmlns:a16="http://schemas.microsoft.com/office/drawing/2014/main" id="{C262D9F1-170C-FEE2-2472-3FF004C93A0A}"/>
              </a:ext>
            </a:extLst>
          </p:cNvPr>
          <p:cNvSpPr>
            <a:spLocks noGrp="1"/>
          </p:cNvSpPr>
          <p:nvPr>
            <p:ph type="body" sz="quarter" idx="20" hasCustomPrompt="1"/>
          </p:nvPr>
        </p:nvSpPr>
        <p:spPr>
          <a:xfrm>
            <a:off x="2604988" y="3304959"/>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3. Topic title </a:t>
            </a:r>
          </a:p>
        </p:txBody>
      </p:sp>
      <p:sp>
        <p:nvSpPr>
          <p:cNvPr id="41" name="テキスト プレースホルダー 13">
            <a:extLst>
              <a:ext uri="{FF2B5EF4-FFF2-40B4-BE49-F238E27FC236}">
                <a16:creationId xmlns:a16="http://schemas.microsoft.com/office/drawing/2014/main" id="{D36E4D91-1BF9-091F-E926-8382E7EDEEFD}"/>
              </a:ext>
            </a:extLst>
          </p:cNvPr>
          <p:cNvSpPr>
            <a:spLocks noGrp="1"/>
          </p:cNvSpPr>
          <p:nvPr>
            <p:ph type="body" sz="quarter" idx="21" hasCustomPrompt="1"/>
          </p:nvPr>
        </p:nvSpPr>
        <p:spPr>
          <a:xfrm>
            <a:off x="3324988" y="3758768"/>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2" name="テキスト プレースホルダー 13">
            <a:extLst>
              <a:ext uri="{FF2B5EF4-FFF2-40B4-BE49-F238E27FC236}">
                <a16:creationId xmlns:a16="http://schemas.microsoft.com/office/drawing/2014/main" id="{5E539ABA-F91D-8A2F-E544-DB3EBFAC9108}"/>
              </a:ext>
            </a:extLst>
          </p:cNvPr>
          <p:cNvSpPr>
            <a:spLocks noGrp="1"/>
          </p:cNvSpPr>
          <p:nvPr>
            <p:ph type="body" sz="quarter" idx="22" hasCustomPrompt="1"/>
          </p:nvPr>
        </p:nvSpPr>
        <p:spPr>
          <a:xfrm>
            <a:off x="2604988" y="4355885"/>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4. Topic title </a:t>
            </a:r>
          </a:p>
        </p:txBody>
      </p:sp>
      <p:sp>
        <p:nvSpPr>
          <p:cNvPr id="43" name="テキスト プレースホルダー 13">
            <a:extLst>
              <a:ext uri="{FF2B5EF4-FFF2-40B4-BE49-F238E27FC236}">
                <a16:creationId xmlns:a16="http://schemas.microsoft.com/office/drawing/2014/main" id="{F67B5B7A-896A-DE29-E75A-80E790F361FA}"/>
              </a:ext>
            </a:extLst>
          </p:cNvPr>
          <p:cNvSpPr>
            <a:spLocks noGrp="1"/>
          </p:cNvSpPr>
          <p:nvPr>
            <p:ph type="body" sz="quarter" idx="23" hasCustomPrompt="1"/>
          </p:nvPr>
        </p:nvSpPr>
        <p:spPr>
          <a:xfrm>
            <a:off x="3324988" y="480969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4" name="テキスト プレースホルダー 13">
            <a:extLst>
              <a:ext uri="{FF2B5EF4-FFF2-40B4-BE49-F238E27FC236}">
                <a16:creationId xmlns:a16="http://schemas.microsoft.com/office/drawing/2014/main" id="{433031D6-DD50-5095-0CC8-23D614EBC922}"/>
              </a:ext>
            </a:extLst>
          </p:cNvPr>
          <p:cNvSpPr>
            <a:spLocks noGrp="1"/>
          </p:cNvSpPr>
          <p:nvPr>
            <p:ph type="body" sz="quarter" idx="24" hasCustomPrompt="1"/>
          </p:nvPr>
        </p:nvSpPr>
        <p:spPr>
          <a:xfrm>
            <a:off x="2604988" y="5406811"/>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5. Topic title</a:t>
            </a:r>
          </a:p>
        </p:txBody>
      </p:sp>
      <p:sp>
        <p:nvSpPr>
          <p:cNvPr id="45" name="テキスト プレースホルダー 13">
            <a:extLst>
              <a:ext uri="{FF2B5EF4-FFF2-40B4-BE49-F238E27FC236}">
                <a16:creationId xmlns:a16="http://schemas.microsoft.com/office/drawing/2014/main" id="{6345B59D-EA5D-4847-AC94-092E01E40DFE}"/>
              </a:ext>
            </a:extLst>
          </p:cNvPr>
          <p:cNvSpPr>
            <a:spLocks noGrp="1"/>
          </p:cNvSpPr>
          <p:nvPr>
            <p:ph type="body" sz="quarter" idx="25" hasCustomPrompt="1"/>
          </p:nvPr>
        </p:nvSpPr>
        <p:spPr>
          <a:xfrm>
            <a:off x="3324988" y="5860620"/>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18" name="フッター プレースホルダー 2">
            <a:extLst>
              <a:ext uri="{FF2B5EF4-FFF2-40B4-BE49-F238E27FC236}">
                <a16:creationId xmlns:a16="http://schemas.microsoft.com/office/drawing/2014/main" id="{A13C161A-ABF0-25CD-3E68-068EEBC478FB}"/>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17" name="直線コネクタ 6">
            <a:extLst>
              <a:ext uri="{FF2B5EF4-FFF2-40B4-BE49-F238E27FC236}">
                <a16:creationId xmlns:a16="http://schemas.microsoft.com/office/drawing/2014/main" id="{03791546-1A4B-4A0E-BC6D-2C68C85D037D}"/>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8ED66173-4570-40EF-8E64-5D04F7D723F3}"/>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64142339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ic 2">
    <p:spTree>
      <p:nvGrpSpPr>
        <p:cNvPr id="1" name=""/>
        <p:cNvGrpSpPr/>
        <p:nvPr/>
      </p:nvGrpSpPr>
      <p:grpSpPr>
        <a:xfrm>
          <a:off x="0" y="0"/>
          <a:ext cx="0" cy="0"/>
          <a:chOff x="0" y="0"/>
          <a:chExt cx="0" cy="0"/>
        </a:xfrm>
      </p:grpSpPr>
      <p:sp>
        <p:nvSpPr>
          <p:cNvPr id="20" name="テキスト プレースホルダー 13">
            <a:extLst>
              <a:ext uri="{FF2B5EF4-FFF2-40B4-BE49-F238E27FC236}">
                <a16:creationId xmlns:a16="http://schemas.microsoft.com/office/drawing/2014/main" id="{68D846FA-517A-1BDC-FC39-E177F82B1D6A}"/>
              </a:ext>
            </a:extLst>
          </p:cNvPr>
          <p:cNvSpPr>
            <a:spLocks noGrp="1"/>
          </p:cNvSpPr>
          <p:nvPr>
            <p:ph type="body" sz="quarter" idx="11" hasCustomPrompt="1"/>
          </p:nvPr>
        </p:nvSpPr>
        <p:spPr>
          <a:xfrm>
            <a:off x="227013"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1.</a:t>
            </a:r>
            <a:br>
              <a:rPr kumimoji="1" lang="en-US" altLang="ja-JP"/>
            </a:br>
            <a:r>
              <a:rPr kumimoji="1" lang="en-US" altLang="ja-JP"/>
              <a:t>Topic title</a:t>
            </a:r>
            <a:br>
              <a:rPr kumimoji="1" lang="en-US" altLang="ja-JP"/>
            </a:br>
            <a:r>
              <a:rPr kumimoji="1" lang="en-US" altLang="ja-JP"/>
              <a:t>Arial 18pt</a:t>
            </a:r>
            <a:br>
              <a:rPr kumimoji="1" lang="en-US" altLang="ja-JP"/>
            </a:br>
            <a:r>
              <a:rPr kumimoji="1" lang="en-US" altLang="ja-JP"/>
              <a:t>Line spacing 1</a:t>
            </a:r>
          </a:p>
        </p:txBody>
      </p:sp>
      <p:sp>
        <p:nvSpPr>
          <p:cNvPr id="21" name="テキスト プレースホルダー 13">
            <a:extLst>
              <a:ext uri="{FF2B5EF4-FFF2-40B4-BE49-F238E27FC236}">
                <a16:creationId xmlns:a16="http://schemas.microsoft.com/office/drawing/2014/main" id="{2E896B08-519F-1B49-CAEA-B43D1178AF68}"/>
              </a:ext>
            </a:extLst>
          </p:cNvPr>
          <p:cNvSpPr>
            <a:spLocks noGrp="1"/>
          </p:cNvSpPr>
          <p:nvPr>
            <p:ph type="body" sz="quarter" idx="37" hasCustomPrompt="1"/>
          </p:nvPr>
        </p:nvSpPr>
        <p:spPr>
          <a:xfrm>
            <a:off x="227013"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br>
              <a:rPr kumimoji="1" lang="en-US" altLang="ja-JP"/>
            </a:br>
            <a:r>
              <a:rPr kumimoji="1" lang="en-US" altLang="ja-JP"/>
              <a:t>Arial 16pt</a:t>
            </a:r>
            <a:br>
              <a:rPr kumimoji="1" lang="en-US" altLang="ja-JP"/>
            </a:br>
            <a:r>
              <a:rPr kumimoji="1" lang="en-US" altLang="ja-JP"/>
              <a:t>Line spacing 1</a:t>
            </a:r>
            <a:endParaRPr kumimoji="1" lang="ja-JP" altLang="en-US"/>
          </a:p>
        </p:txBody>
      </p:sp>
      <p:sp>
        <p:nvSpPr>
          <p:cNvPr id="25" name="正方形/長方形 24">
            <a:extLst>
              <a:ext uri="{FF2B5EF4-FFF2-40B4-BE49-F238E27FC236}">
                <a16:creationId xmlns:a16="http://schemas.microsoft.com/office/drawing/2014/main" id="{7B82DFB4-8892-789E-B2CD-7983B9B4CF0D}"/>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6" name="直線コネクタ 25">
            <a:extLst>
              <a:ext uri="{FF2B5EF4-FFF2-40B4-BE49-F238E27FC236}">
                <a16:creationId xmlns:a16="http://schemas.microsoft.com/office/drawing/2014/main" id="{6A81A413-E438-061D-7C90-F5C58FADD165}"/>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スライド番号プレースホルダー 3">
            <a:extLst>
              <a:ext uri="{FF2B5EF4-FFF2-40B4-BE49-F238E27FC236}">
                <a16:creationId xmlns:a16="http://schemas.microsoft.com/office/drawing/2014/main" id="{6109E172-85B5-D6BA-35E2-71BC0EBAEF77}"/>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1" name="テキスト プレースホルダー 13">
            <a:extLst>
              <a:ext uri="{FF2B5EF4-FFF2-40B4-BE49-F238E27FC236}">
                <a16:creationId xmlns:a16="http://schemas.microsoft.com/office/drawing/2014/main" id="{091E2DBB-7DB9-2686-95D3-4E80875ED02D}"/>
              </a:ext>
            </a:extLst>
          </p:cNvPr>
          <p:cNvSpPr>
            <a:spLocks noGrp="1"/>
          </p:cNvSpPr>
          <p:nvPr>
            <p:ph type="body" sz="quarter" idx="38" hasCustomPrompt="1"/>
          </p:nvPr>
        </p:nvSpPr>
        <p:spPr>
          <a:xfrm>
            <a:off x="9729232"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5.</a:t>
            </a:r>
            <a:br>
              <a:rPr kumimoji="1" lang="en-US" altLang="ja-JP"/>
            </a:br>
            <a:r>
              <a:rPr kumimoji="1" lang="en-US" altLang="ja-JP"/>
              <a:t>Topic title</a:t>
            </a:r>
          </a:p>
        </p:txBody>
      </p:sp>
      <p:sp>
        <p:nvSpPr>
          <p:cNvPr id="32" name="テキスト プレースホルダー 13">
            <a:extLst>
              <a:ext uri="{FF2B5EF4-FFF2-40B4-BE49-F238E27FC236}">
                <a16:creationId xmlns:a16="http://schemas.microsoft.com/office/drawing/2014/main" id="{078B0A2C-258F-D3A0-16EC-3E1972B716E7}"/>
              </a:ext>
            </a:extLst>
          </p:cNvPr>
          <p:cNvSpPr>
            <a:spLocks noGrp="1"/>
          </p:cNvSpPr>
          <p:nvPr>
            <p:ph type="body" sz="quarter" idx="39" hasCustomPrompt="1"/>
          </p:nvPr>
        </p:nvSpPr>
        <p:spPr>
          <a:xfrm>
            <a:off x="9729232"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3" name="テキスト プレースホルダー 13">
            <a:extLst>
              <a:ext uri="{FF2B5EF4-FFF2-40B4-BE49-F238E27FC236}">
                <a16:creationId xmlns:a16="http://schemas.microsoft.com/office/drawing/2014/main" id="{D8A912AB-567C-A54D-4F1D-3027E27F6316}"/>
              </a:ext>
            </a:extLst>
          </p:cNvPr>
          <p:cNvSpPr>
            <a:spLocks noGrp="1"/>
          </p:cNvSpPr>
          <p:nvPr>
            <p:ph type="body" sz="quarter" idx="40" hasCustomPrompt="1"/>
          </p:nvPr>
        </p:nvSpPr>
        <p:spPr>
          <a:xfrm>
            <a:off x="4980000"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3.</a:t>
            </a:r>
            <a:br>
              <a:rPr kumimoji="1" lang="en-US" altLang="ja-JP"/>
            </a:br>
            <a:r>
              <a:rPr kumimoji="1" lang="en-US" altLang="ja-JP"/>
              <a:t>Topic title</a:t>
            </a:r>
          </a:p>
        </p:txBody>
      </p:sp>
      <p:sp>
        <p:nvSpPr>
          <p:cNvPr id="34" name="テキスト プレースホルダー 13">
            <a:extLst>
              <a:ext uri="{FF2B5EF4-FFF2-40B4-BE49-F238E27FC236}">
                <a16:creationId xmlns:a16="http://schemas.microsoft.com/office/drawing/2014/main" id="{A1CC399C-A256-16A8-5421-852FF5919F5D}"/>
              </a:ext>
            </a:extLst>
          </p:cNvPr>
          <p:cNvSpPr>
            <a:spLocks noGrp="1"/>
          </p:cNvSpPr>
          <p:nvPr>
            <p:ph type="body" sz="quarter" idx="41" hasCustomPrompt="1"/>
          </p:nvPr>
        </p:nvSpPr>
        <p:spPr>
          <a:xfrm>
            <a:off x="498000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5" name="テキスト プレースホルダー 13">
            <a:extLst>
              <a:ext uri="{FF2B5EF4-FFF2-40B4-BE49-F238E27FC236}">
                <a16:creationId xmlns:a16="http://schemas.microsoft.com/office/drawing/2014/main" id="{F59B86E8-736F-B28D-D00E-E953A7F41FBC}"/>
              </a:ext>
            </a:extLst>
          </p:cNvPr>
          <p:cNvSpPr>
            <a:spLocks noGrp="1"/>
          </p:cNvSpPr>
          <p:nvPr>
            <p:ph type="body" sz="quarter" idx="42" hasCustomPrompt="1"/>
          </p:nvPr>
        </p:nvSpPr>
        <p:spPr>
          <a:xfrm>
            <a:off x="2601629"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2.</a:t>
            </a:r>
            <a:br>
              <a:rPr kumimoji="1" lang="en-US" altLang="ja-JP"/>
            </a:br>
            <a:r>
              <a:rPr kumimoji="1" lang="en-US" altLang="ja-JP"/>
              <a:t>Topic title</a:t>
            </a:r>
          </a:p>
        </p:txBody>
      </p:sp>
      <p:sp>
        <p:nvSpPr>
          <p:cNvPr id="36" name="テキスト プレースホルダー 13">
            <a:extLst>
              <a:ext uri="{FF2B5EF4-FFF2-40B4-BE49-F238E27FC236}">
                <a16:creationId xmlns:a16="http://schemas.microsoft.com/office/drawing/2014/main" id="{147CC392-487E-2E0C-B50A-061957F777ED}"/>
              </a:ext>
            </a:extLst>
          </p:cNvPr>
          <p:cNvSpPr>
            <a:spLocks noGrp="1"/>
          </p:cNvSpPr>
          <p:nvPr>
            <p:ph type="body" sz="quarter" idx="43" hasCustomPrompt="1"/>
          </p:nvPr>
        </p:nvSpPr>
        <p:spPr>
          <a:xfrm>
            <a:off x="2601629"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7" name="テキスト プレースホルダー 13">
            <a:extLst>
              <a:ext uri="{FF2B5EF4-FFF2-40B4-BE49-F238E27FC236}">
                <a16:creationId xmlns:a16="http://schemas.microsoft.com/office/drawing/2014/main" id="{7BEA0843-78F0-59BF-C130-00A11B0158B0}"/>
              </a:ext>
            </a:extLst>
          </p:cNvPr>
          <p:cNvSpPr>
            <a:spLocks noGrp="1"/>
          </p:cNvSpPr>
          <p:nvPr>
            <p:ph type="body" sz="quarter" idx="44" hasCustomPrompt="1"/>
          </p:nvPr>
        </p:nvSpPr>
        <p:spPr>
          <a:xfrm>
            <a:off x="7350861"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4.</a:t>
            </a:r>
            <a:br>
              <a:rPr kumimoji="1" lang="en-US" altLang="ja-JP"/>
            </a:br>
            <a:r>
              <a:rPr kumimoji="1" lang="en-US" altLang="ja-JP"/>
              <a:t>Topic title</a:t>
            </a:r>
          </a:p>
        </p:txBody>
      </p:sp>
      <p:sp>
        <p:nvSpPr>
          <p:cNvPr id="38" name="テキスト プレースホルダー 13">
            <a:extLst>
              <a:ext uri="{FF2B5EF4-FFF2-40B4-BE49-F238E27FC236}">
                <a16:creationId xmlns:a16="http://schemas.microsoft.com/office/drawing/2014/main" id="{A4EC413B-D1FB-83CD-AFD7-13B9F7201C46}"/>
              </a:ext>
            </a:extLst>
          </p:cNvPr>
          <p:cNvSpPr>
            <a:spLocks noGrp="1"/>
          </p:cNvSpPr>
          <p:nvPr>
            <p:ph type="body" sz="quarter" idx="45" hasCustomPrompt="1"/>
          </p:nvPr>
        </p:nvSpPr>
        <p:spPr>
          <a:xfrm>
            <a:off x="7350861"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18" name="フッター プレースホルダー 2">
            <a:extLst>
              <a:ext uri="{FF2B5EF4-FFF2-40B4-BE49-F238E27FC236}">
                <a16:creationId xmlns:a16="http://schemas.microsoft.com/office/drawing/2014/main" id="{2D057740-B1CC-82F0-B425-1A4E3A31E63D}"/>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17" name="直線コネクタ 6">
            <a:extLst>
              <a:ext uri="{FF2B5EF4-FFF2-40B4-BE49-F238E27FC236}">
                <a16:creationId xmlns:a16="http://schemas.microsoft.com/office/drawing/2014/main" id="{6C8D8570-E2A3-492A-A044-77C6B2B1E712}"/>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0EE35B0D-2701-4494-9F85-3115C80BEE2E}"/>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00783185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10" name="Picture 9" descr="A picture containing work-clothing&#10;&#10;Description automatically generated">
            <a:extLst>
              <a:ext uri="{FF2B5EF4-FFF2-40B4-BE49-F238E27FC236}">
                <a16:creationId xmlns:a16="http://schemas.microsoft.com/office/drawing/2014/main" id="{2887D45C-02BD-4B21-868C-EB62C5F5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2A53D46-42AD-4830-8B9A-EAAC17E31597}"/>
              </a:ext>
            </a:extLst>
          </p:cNvPr>
          <p:cNvSpPr>
            <a:spLocks noGrp="1"/>
          </p:cNvSpPr>
          <p:nvPr>
            <p:ph type="title"/>
          </p:nvPr>
        </p:nvSpPr>
        <p:spPr>
          <a:xfrm>
            <a:off x="419100" y="4576410"/>
            <a:ext cx="7830820" cy="941438"/>
          </a:xfrm>
        </p:spPr>
        <p:txBody>
          <a:bodyPr anchor="b"/>
          <a:lstStyle>
            <a:lvl1pPr>
              <a:lnSpc>
                <a:spcPct val="80000"/>
              </a:lnSpc>
              <a:defRPr sz="4800" b="1">
                <a:solidFill>
                  <a:schemeClr val="accent4"/>
                </a:solidFill>
              </a:defRPr>
            </a:lvl1pPr>
          </a:lstStyle>
          <a:p>
            <a:r>
              <a:rPr lang="en-US"/>
              <a:t>Click to edit Master title style</a:t>
            </a:r>
            <a:endParaRPr lang="en-AU"/>
          </a:p>
        </p:txBody>
      </p:sp>
      <p:pic>
        <p:nvPicPr>
          <p:cNvPr id="4" name="Image 5" descr="Une image contenant texte&#10;&#10;Description générée automatiquement">
            <a:extLst>
              <a:ext uri="{FF2B5EF4-FFF2-40B4-BE49-F238E27FC236}">
                <a16:creationId xmlns:a16="http://schemas.microsoft.com/office/drawing/2014/main" id="{FA5E349B-F5F6-4F09-8EF1-FBDE3DDB33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14000" y="246471"/>
            <a:ext cx="3078000" cy="1248074"/>
          </a:xfrm>
          <a:prstGeom prst="rect">
            <a:avLst/>
          </a:prstGeom>
        </p:spPr>
      </p:pic>
      <p:sp>
        <p:nvSpPr>
          <p:cNvPr id="5" name="Graphic 13">
            <a:extLst>
              <a:ext uri="{FF2B5EF4-FFF2-40B4-BE49-F238E27FC236}">
                <a16:creationId xmlns:a16="http://schemas.microsoft.com/office/drawing/2014/main" id="{AB404603-9BC6-42D3-815A-E89BCEAF1144}"/>
              </a:ext>
            </a:extLst>
          </p:cNvPr>
          <p:cNvSpPr>
            <a:spLocks/>
          </p:cNvSpPr>
          <p:nvPr userDrawn="1"/>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E79C248B-C27B-45FB-95EC-BAE5FD202AA2}"/>
              </a:ext>
            </a:extLst>
          </p:cNvPr>
          <p:cNvSpPr>
            <a:spLocks noGrp="1"/>
          </p:cNvSpPr>
          <p:nvPr>
            <p:ph type="body" sz="quarter" idx="10" hasCustomPrompt="1"/>
          </p:nvPr>
        </p:nvSpPr>
        <p:spPr>
          <a:xfrm>
            <a:off x="419100" y="5687836"/>
            <a:ext cx="4747285" cy="581025"/>
          </a:xfrm>
          <a:prstGeom prst="rect">
            <a:avLst/>
          </a:prstGeom>
        </p:spPr>
        <p:txBody>
          <a:bodyPr lIns="0" tIns="0" rIns="0" bIns="0"/>
          <a:lstStyle>
            <a:lvl1pPr>
              <a:defRPr cap="all" baseline="0">
                <a:solidFill>
                  <a:schemeClr val="accent4"/>
                </a:solidFill>
              </a:defRPr>
            </a:lvl1pPr>
          </a:lstStyle>
          <a:p>
            <a:pPr lvl="0"/>
            <a:r>
              <a:rPr lang="en-US"/>
              <a:t>Date</a:t>
            </a:r>
            <a:endParaRPr lang="en-AU"/>
          </a:p>
        </p:txBody>
      </p:sp>
      <p:pic>
        <p:nvPicPr>
          <p:cNvPr id="8" name="図 12" descr="アイコン&#10;&#10;低い精度で自動的に生成された説明">
            <a:extLst>
              <a:ext uri="{FF2B5EF4-FFF2-40B4-BE49-F238E27FC236}">
                <a16:creationId xmlns:a16="http://schemas.microsoft.com/office/drawing/2014/main" id="{E3AF34BD-D43F-4E05-985F-628FFD82CE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0287" y="324077"/>
            <a:ext cx="2406783" cy="1106863"/>
          </a:xfrm>
          <a:prstGeom prst="rect">
            <a:avLst/>
          </a:prstGeom>
        </p:spPr>
      </p:pic>
    </p:spTree>
    <p:extLst>
      <p:ext uri="{BB962C8B-B14F-4D97-AF65-F5344CB8AC3E}">
        <p14:creationId xmlns:p14="http://schemas.microsoft.com/office/powerpoint/2010/main" val="38537767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AE3E1CD6-5D8D-268E-42EC-A8EC858EBB44}"/>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2" name="タイトル 1">
            <a:extLst>
              <a:ext uri="{FF2B5EF4-FFF2-40B4-BE49-F238E27FC236}">
                <a16:creationId xmlns:a16="http://schemas.microsoft.com/office/drawing/2014/main" id="{8626BE28-3A0E-DBF8-86C1-201ADE114DDE}"/>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cxnSp>
        <p:nvCxnSpPr>
          <p:cNvPr id="10" name="直線コネクタ 9">
            <a:extLst>
              <a:ext uri="{FF2B5EF4-FFF2-40B4-BE49-F238E27FC236}">
                <a16:creationId xmlns:a16="http://schemas.microsoft.com/office/drawing/2014/main" id="{E7E08365-6A34-7C6F-FC0A-1F2887B50CE6}"/>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4" name="テキスト プレースホルダー 13">
            <a:extLst>
              <a:ext uri="{FF2B5EF4-FFF2-40B4-BE49-F238E27FC236}">
                <a16:creationId xmlns:a16="http://schemas.microsoft.com/office/drawing/2014/main" id="{27DF148C-7643-3E48-57EE-E10AAF0E4F80}"/>
              </a:ext>
            </a:extLst>
          </p:cNvPr>
          <p:cNvSpPr>
            <a:spLocks noGrp="1"/>
          </p:cNvSpPr>
          <p:nvPr>
            <p:ph type="body" sz="quarter" idx="11" hasCustomPrompt="1"/>
          </p:nvPr>
        </p:nvSpPr>
        <p:spPr>
          <a:xfrm>
            <a:off x="228988" y="1197288"/>
            <a:ext cx="11736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11" name="フッター プレースホルダー 2">
            <a:extLst>
              <a:ext uri="{FF2B5EF4-FFF2-40B4-BE49-F238E27FC236}">
                <a16:creationId xmlns:a16="http://schemas.microsoft.com/office/drawing/2014/main" id="{9B73906A-71C3-6DE2-A8BC-3EF36EC25DF9}"/>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CCDAAD4A-7BA9-4427-B347-39122421020C}"/>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868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9" name="スライド番号プレースホルダー 3">
            <a:extLst>
              <a:ext uri="{FF2B5EF4-FFF2-40B4-BE49-F238E27FC236}">
                <a16:creationId xmlns:a16="http://schemas.microsoft.com/office/drawing/2014/main" id="{8EA0C624-ADB0-447F-8CA8-D52459544051}"/>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4A50CB83-9743-4CBB-BDB3-83291B570957}"/>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11" name="タイトル 1">
            <a:extLst>
              <a:ext uri="{FF2B5EF4-FFF2-40B4-BE49-F238E27FC236}">
                <a16:creationId xmlns:a16="http://schemas.microsoft.com/office/drawing/2014/main" id="{F3C46728-E2EA-4162-B0AF-7E1769F7375C}"/>
              </a:ext>
            </a:extLst>
          </p:cNvPr>
          <p:cNvSpPr txBox="1">
            <a:spLocks/>
          </p:cNvSpPr>
          <p:nvPr userDrawn="1"/>
        </p:nvSpPr>
        <p:spPr>
          <a:xfrm>
            <a:off x="947352" y="188913"/>
            <a:ext cx="8281636" cy="540000"/>
          </a:xfrm>
          <a:prstGeom prst="rect">
            <a:avLst/>
          </a:prstGeom>
        </p:spPr>
        <p:txBody>
          <a:bodyPr vert="horz" wrap="none" lIns="180000" tIns="72000" rIns="180000" bIns="0" rtlCol="0" anchor="t">
            <a:noAutofit/>
          </a:bodyPr>
          <a:lst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
        <p:nvSpPr>
          <p:cNvPr id="12" name="タイトル プレースホルダー 9">
            <a:extLst>
              <a:ext uri="{FF2B5EF4-FFF2-40B4-BE49-F238E27FC236}">
                <a16:creationId xmlns:a16="http://schemas.microsoft.com/office/drawing/2014/main" id="{CEBDB5CA-161E-4FFC-AE51-8E4DA6166704}"/>
              </a:ext>
            </a:extLst>
          </p:cNvPr>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13" name="テキスト プレースホルダー 2">
            <a:extLst>
              <a:ext uri="{FF2B5EF4-FFF2-40B4-BE49-F238E27FC236}">
                <a16:creationId xmlns:a16="http://schemas.microsoft.com/office/drawing/2014/main" id="{1F58711E-CCC6-49DC-8D8D-B71F38368F42}"/>
              </a:ext>
            </a:extLst>
          </p:cNvPr>
          <p:cNvSpPr>
            <a:spLocks noGrp="1"/>
          </p:cNvSpPr>
          <p:nvPr>
            <p:ph idx="1"/>
          </p:nvPr>
        </p:nvSpPr>
        <p:spPr>
          <a:xfrm>
            <a:off x="432000" y="1725643"/>
            <a:ext cx="11327999"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Tree>
    <p:extLst>
      <p:ext uri="{BB962C8B-B14F-4D97-AF65-F5344CB8AC3E}">
        <p14:creationId xmlns:p14="http://schemas.microsoft.com/office/powerpoint/2010/main" val="1827474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スライド番号プレースホルダー 3">
            <a:extLst>
              <a:ext uri="{FF2B5EF4-FFF2-40B4-BE49-F238E27FC236}">
                <a16:creationId xmlns:a16="http://schemas.microsoft.com/office/drawing/2014/main" id="{6095C7B4-82F0-45CD-9926-FD7753E53497}"/>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5" name="フッター プレースホルダー 2">
            <a:extLst>
              <a:ext uri="{FF2B5EF4-FFF2-40B4-BE49-F238E27FC236}">
                <a16:creationId xmlns:a16="http://schemas.microsoft.com/office/drawing/2014/main" id="{58B06FFD-E957-41DA-AD23-6FD9C3A9D3DD}"/>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6" name="タイトル 1">
            <a:extLst>
              <a:ext uri="{FF2B5EF4-FFF2-40B4-BE49-F238E27FC236}">
                <a16:creationId xmlns:a16="http://schemas.microsoft.com/office/drawing/2014/main" id="{A8A1266C-F329-4A9B-8331-1BE44DDC78CC}"/>
              </a:ext>
            </a:extLst>
          </p:cNvPr>
          <p:cNvSpPr txBox="1">
            <a:spLocks/>
          </p:cNvSpPr>
          <p:nvPr userDrawn="1"/>
        </p:nvSpPr>
        <p:spPr>
          <a:xfrm>
            <a:off x="947352" y="188913"/>
            <a:ext cx="8281636" cy="540000"/>
          </a:xfrm>
          <a:prstGeom prst="rect">
            <a:avLst/>
          </a:prstGeom>
        </p:spPr>
        <p:txBody>
          <a:bodyPr vert="horz" wrap="none" lIns="180000" tIns="72000" rIns="180000" bIns="0" rtlCol="0" anchor="t">
            <a:noAutofit/>
          </a:bodyPr>
          <a:lst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845633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4" y="1447201"/>
            <a:ext cx="11379201" cy="48774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ja-JP" altLang="en-US"/>
              <a:t>マスター タイトルの書式設定</a:t>
            </a:r>
            <a:endParaRPr lang="en-GB"/>
          </a:p>
        </p:txBody>
      </p:sp>
      <p:sp>
        <p:nvSpPr>
          <p:cNvPr id="5" name="スライド番号プレースホルダー 3">
            <a:extLst>
              <a:ext uri="{FF2B5EF4-FFF2-40B4-BE49-F238E27FC236}">
                <a16:creationId xmlns:a16="http://schemas.microsoft.com/office/drawing/2014/main" id="{568E30BE-387A-4CEE-A5F9-B827AB5852D5}"/>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6" name="フッター プレースホルダー 2">
            <a:extLst>
              <a:ext uri="{FF2B5EF4-FFF2-40B4-BE49-F238E27FC236}">
                <a16:creationId xmlns:a16="http://schemas.microsoft.com/office/drawing/2014/main" id="{67FB7793-38C9-499F-BCF1-696AC5AC3FA1}"/>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19763845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16277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119812" name="Picture 4" descr="a bunch of bubbles">
            <a:extLst>
              <a:ext uri="{FF2B5EF4-FFF2-40B4-BE49-F238E27FC236}">
                <a16:creationId xmlns:a16="http://schemas.microsoft.com/office/drawing/2014/main" id="{85D3CBF8-C79E-B8BC-8C12-2E0686A95F8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978" r="16515"/>
          <a:stretch/>
        </p:blipFill>
        <p:spPr bwMode="auto">
          <a:xfrm rot="5400000">
            <a:off x="2657536" y="-2657536"/>
            <a:ext cx="6876928" cy="12192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21C5AA7-8CE5-241B-BB30-C6FFC873A304}"/>
              </a:ext>
            </a:extLst>
          </p:cNvPr>
          <p:cNvSpPr/>
          <p:nvPr userDrawn="1"/>
        </p:nvSpPr>
        <p:spPr>
          <a:xfrm>
            <a:off x="0" y="0"/>
            <a:ext cx="12192000" cy="6876928"/>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 name="Title 1">
            <a:extLst>
              <a:ext uri="{FF2B5EF4-FFF2-40B4-BE49-F238E27FC236}">
                <a16:creationId xmlns:a16="http://schemas.microsoft.com/office/drawing/2014/main" id="{42A53D46-42AD-4830-8B9A-EAAC17E31597}"/>
              </a:ext>
            </a:extLst>
          </p:cNvPr>
          <p:cNvSpPr>
            <a:spLocks noGrp="1"/>
          </p:cNvSpPr>
          <p:nvPr>
            <p:ph type="title"/>
          </p:nvPr>
        </p:nvSpPr>
        <p:spPr>
          <a:xfrm>
            <a:off x="419101" y="2792279"/>
            <a:ext cx="5770562" cy="2694122"/>
          </a:xfrm>
        </p:spPr>
        <p:txBody>
          <a:bodyPr anchor="t"/>
          <a:lstStyle>
            <a:lvl1pPr>
              <a:lnSpc>
                <a:spcPct val="80000"/>
              </a:lnSpc>
              <a:defRPr sz="5000" b="1">
                <a:solidFill>
                  <a:schemeClr val="accent4"/>
                </a:solidFill>
              </a:defRPr>
            </a:lvl1pPr>
          </a:lstStyle>
          <a:p>
            <a:endParaRPr lang="en-AU"/>
          </a:p>
        </p:txBody>
      </p:sp>
      <p:sp>
        <p:nvSpPr>
          <p:cNvPr id="5" name="Graphic 13">
            <a:extLst>
              <a:ext uri="{FF2B5EF4-FFF2-40B4-BE49-F238E27FC236}">
                <a16:creationId xmlns:a16="http://schemas.microsoft.com/office/drawing/2014/main" id="{AB404603-9BC6-42D3-815A-E89BCEAF1144}"/>
              </a:ext>
            </a:extLst>
          </p:cNvPr>
          <p:cNvSpPr>
            <a:spLocks/>
          </p:cNvSpPr>
          <p:nvPr userDrawn="1"/>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E79C248B-C27B-45FB-95EC-BAE5FD202AA2}"/>
              </a:ext>
            </a:extLst>
          </p:cNvPr>
          <p:cNvSpPr>
            <a:spLocks noGrp="1"/>
          </p:cNvSpPr>
          <p:nvPr>
            <p:ph type="body" sz="quarter" idx="10" hasCustomPrompt="1"/>
          </p:nvPr>
        </p:nvSpPr>
        <p:spPr>
          <a:xfrm>
            <a:off x="419100" y="5687836"/>
            <a:ext cx="4747285" cy="581025"/>
          </a:xfrm>
          <a:prstGeom prst="rect">
            <a:avLst/>
          </a:prstGeom>
        </p:spPr>
        <p:txBody>
          <a:bodyPr lIns="0" tIns="0" rIns="0" bIns="0">
            <a:normAutofit/>
          </a:bodyPr>
          <a:lstStyle>
            <a:lvl1pPr>
              <a:defRPr sz="1600" cap="all" baseline="0">
                <a:solidFill>
                  <a:schemeClr val="accent4"/>
                </a:solidFill>
              </a:defRPr>
            </a:lvl1pPr>
          </a:lstStyle>
          <a:p>
            <a:pPr lvl="0"/>
            <a:r>
              <a:rPr lang="en-US"/>
              <a:t>Date</a:t>
            </a:r>
            <a:endParaRPr lang="en-AU"/>
          </a:p>
        </p:txBody>
      </p:sp>
      <p:sp>
        <p:nvSpPr>
          <p:cNvPr id="14" name="Text Placeholder 13">
            <a:extLst>
              <a:ext uri="{FF2B5EF4-FFF2-40B4-BE49-F238E27FC236}">
                <a16:creationId xmlns:a16="http://schemas.microsoft.com/office/drawing/2014/main" id="{7E84C91F-3AF0-46FD-9E07-2EFD640FE2C1}"/>
              </a:ext>
            </a:extLst>
          </p:cNvPr>
          <p:cNvSpPr>
            <a:spLocks noGrp="1"/>
          </p:cNvSpPr>
          <p:nvPr>
            <p:ph type="body" sz="quarter" idx="11"/>
          </p:nvPr>
        </p:nvSpPr>
        <p:spPr>
          <a:xfrm>
            <a:off x="419100" y="2133600"/>
            <a:ext cx="5770563" cy="504825"/>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600" b="0" i="0" u="none" strike="noStrike" kern="1200" cap="all" spc="0" normalizeH="0" baseline="0" noProof="0" dirty="0" smtClean="0">
                <a:ln>
                  <a:noFill/>
                </a:ln>
                <a:solidFill>
                  <a:schemeClr val="accent4"/>
                </a:solidFill>
                <a:effectLst/>
                <a:uLnTx/>
                <a:uFillTx/>
                <a:latin typeface="Ubuntu Medium "/>
                <a:ea typeface="+mj-ea"/>
                <a:cs typeface="+mj-cs"/>
              </a:defRPr>
            </a:lvl1pPr>
            <a:lvl2pPr>
              <a:defRPr sz="2600">
                <a:latin typeface="+mj-lt"/>
              </a:defRPr>
            </a:lvl2pPr>
            <a:lvl3pPr>
              <a:defRPr sz="2600">
                <a:latin typeface="+mj-lt"/>
              </a:defRPr>
            </a:lvl3pPr>
            <a:lvl4pPr>
              <a:defRPr sz="2600">
                <a:latin typeface="+mj-lt"/>
              </a:defRPr>
            </a:lvl4pPr>
            <a:lvl5pPr>
              <a:defRPr sz="2600">
                <a:latin typeface="+mj-lt"/>
              </a:defRPr>
            </a:lvl5pPr>
          </a:lstStyle>
          <a:p>
            <a:pPr lvl="0"/>
            <a:r>
              <a:rPr lang="en-US"/>
              <a:t>Click to edit Master text style</a:t>
            </a:r>
          </a:p>
        </p:txBody>
      </p:sp>
      <p:pic>
        <p:nvPicPr>
          <p:cNvPr id="3" name="図 12" descr="アイコン&#10;&#10;低い精度で自動的に生成された説明">
            <a:extLst>
              <a:ext uri="{FF2B5EF4-FFF2-40B4-BE49-F238E27FC236}">
                <a16:creationId xmlns:a16="http://schemas.microsoft.com/office/drawing/2014/main" id="{CEC85DB7-6C51-3AF6-2DC6-CBEE2D5D75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9100" y="361275"/>
            <a:ext cx="2081437" cy="957239"/>
          </a:xfrm>
          <a:prstGeom prst="rect">
            <a:avLst/>
          </a:prstGeom>
        </p:spPr>
      </p:pic>
      <p:pic>
        <p:nvPicPr>
          <p:cNvPr id="4" name="Image 5" descr="Une image contenant texte&#10;&#10;Description générée automatiquement">
            <a:extLst>
              <a:ext uri="{FF2B5EF4-FFF2-40B4-BE49-F238E27FC236}">
                <a16:creationId xmlns:a16="http://schemas.microsoft.com/office/drawing/2014/main" id="{FA5E349B-F5F6-4F09-8EF1-FBDE3DDB33F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114000" y="246471"/>
            <a:ext cx="3078000" cy="1248074"/>
          </a:xfrm>
          <a:prstGeom prst="rect">
            <a:avLst/>
          </a:prstGeom>
        </p:spPr>
      </p:pic>
    </p:spTree>
    <p:extLst>
      <p:ext uri="{BB962C8B-B14F-4D97-AF65-F5344CB8AC3E}">
        <p14:creationId xmlns:p14="http://schemas.microsoft.com/office/powerpoint/2010/main" val="980167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F5B955-F280-4374-8C06-00B5BE8F8F76}"/>
              </a:ext>
            </a:extLst>
          </p:cNvPr>
          <p:cNvSpPr>
            <a:spLocks noGrp="1"/>
          </p:cNvSpPr>
          <p:nvPr>
            <p:ph type="body" sz="quarter" idx="10" hasCustomPrompt="1"/>
          </p:nvPr>
        </p:nvSpPr>
        <p:spPr>
          <a:xfrm>
            <a:off x="5256495" y="330846"/>
            <a:ext cx="6527518" cy="380999"/>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200" b="0" i="0" u="none" strike="noStrike" kern="1200" cap="all" spc="0" normalizeH="0" baseline="0" noProof="0" dirty="0" smtClean="0">
                <a:ln>
                  <a:noFill/>
                </a:ln>
                <a:solidFill>
                  <a:schemeClr val="accent4"/>
                </a:solidFill>
                <a:effectLst/>
                <a:uLnTx/>
                <a:uFillTx/>
                <a:latin typeface="+mj-lt"/>
                <a:ea typeface="+mj-ea"/>
                <a:cs typeface="+mj-cs"/>
              </a:defRPr>
            </a:lvl1pPr>
            <a:lvl2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2pPr>
            <a:lvl3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3pPr>
            <a:lvl4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4pPr>
            <a:lvl5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a:ln>
                  <a:noFill/>
                </a:ln>
                <a:solidFill>
                  <a:schemeClr val="accent4"/>
                </a:solidFill>
                <a:effectLst/>
                <a:uLnTx/>
                <a:uFillTx/>
                <a:latin typeface="+mj-lt"/>
                <a:ea typeface="+mj-ea"/>
                <a:cs typeface="+mj-cs"/>
              </a:defRPr>
            </a:lvl5pPr>
          </a:lstStyle>
          <a:p>
            <a:pPr lvl="0"/>
            <a:r>
              <a:rPr lang="en-US"/>
              <a:t>Title</a:t>
            </a:r>
          </a:p>
        </p:txBody>
      </p:sp>
      <p:pic>
        <p:nvPicPr>
          <p:cNvPr id="3" name="Picture 2" descr="Blue ink underwater">
            <a:extLst>
              <a:ext uri="{FF2B5EF4-FFF2-40B4-BE49-F238E27FC236}">
                <a16:creationId xmlns:a16="http://schemas.microsoft.com/office/drawing/2014/main" id="{A984225D-12CA-0123-0DD7-02615230F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37" r="25473"/>
          <a:stretch/>
        </p:blipFill>
        <p:spPr>
          <a:xfrm>
            <a:off x="-1" y="0"/>
            <a:ext cx="5105401" cy="6858000"/>
          </a:xfrm>
          <a:prstGeom prst="rect">
            <a:avLst/>
          </a:prstGeom>
        </p:spPr>
      </p:pic>
      <p:sp>
        <p:nvSpPr>
          <p:cNvPr id="2" name="Rectangle 27">
            <a:extLst>
              <a:ext uri="{FF2B5EF4-FFF2-40B4-BE49-F238E27FC236}">
                <a16:creationId xmlns:a16="http://schemas.microsoft.com/office/drawing/2014/main" id="{C70B7BD4-8FFB-C085-17D8-495D69B9F7FD}"/>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lumMod val="50000"/>
                  </a:schemeClr>
                </a:solidFill>
              </a:rPr>
              <a:t>Mone</a:t>
            </a:r>
            <a:r>
              <a:rPr lang="en-US" altLang="ja-JP" sz="700">
                <a:solidFill>
                  <a:schemeClr val="bg1">
                    <a:lumMod val="50000"/>
                  </a:schemeClr>
                </a:solidFill>
              </a:rPr>
              <a:t>-G Strategy Alignment on Phase 1B Pilot Implementation</a:t>
            </a:r>
            <a:endParaRPr lang="ja-JP" altLang="en-US" sz="700">
              <a:solidFill>
                <a:schemeClr val="bg1">
                  <a:lumMod val="50000"/>
                </a:schemeClr>
              </a:solidFill>
            </a:endParaRPr>
          </a:p>
        </p:txBody>
      </p:sp>
    </p:spTree>
    <p:extLst>
      <p:ext uri="{BB962C8B-B14F-4D97-AF65-F5344CB8AC3E}">
        <p14:creationId xmlns:p14="http://schemas.microsoft.com/office/powerpoint/2010/main" val="28682243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F5B955-F280-4374-8C06-00B5BE8F8F76}"/>
              </a:ext>
            </a:extLst>
          </p:cNvPr>
          <p:cNvSpPr>
            <a:spLocks noGrp="1"/>
          </p:cNvSpPr>
          <p:nvPr>
            <p:ph type="body" sz="quarter" idx="10" hasCustomPrompt="1"/>
          </p:nvPr>
        </p:nvSpPr>
        <p:spPr>
          <a:xfrm>
            <a:off x="5256495" y="330846"/>
            <a:ext cx="6527518" cy="380999"/>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200" b="0" i="0" u="none" strike="noStrike" kern="1200" cap="all" spc="0" normalizeH="0" baseline="0" noProof="0" dirty="0" smtClean="0">
                <a:ln>
                  <a:noFill/>
                </a:ln>
                <a:solidFill>
                  <a:schemeClr val="accent4"/>
                </a:solidFill>
                <a:effectLst/>
                <a:uLnTx/>
                <a:uFillTx/>
                <a:latin typeface="+mj-lt"/>
                <a:ea typeface="+mj-ea"/>
                <a:cs typeface="+mj-cs"/>
              </a:defRPr>
            </a:lvl1pPr>
            <a:lvl2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2pPr>
            <a:lvl3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3pPr>
            <a:lvl4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4pPr>
            <a:lvl5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a:ln>
                  <a:noFill/>
                </a:ln>
                <a:solidFill>
                  <a:schemeClr val="accent4"/>
                </a:solidFill>
                <a:effectLst/>
                <a:uLnTx/>
                <a:uFillTx/>
                <a:latin typeface="+mj-lt"/>
                <a:ea typeface="+mj-ea"/>
                <a:cs typeface="+mj-cs"/>
              </a:defRPr>
            </a:lvl5pPr>
          </a:lstStyle>
          <a:p>
            <a:pPr lvl="0"/>
            <a:r>
              <a:rPr lang="en-US"/>
              <a:t>Title</a:t>
            </a:r>
          </a:p>
        </p:txBody>
      </p:sp>
      <p:pic>
        <p:nvPicPr>
          <p:cNvPr id="3" name="Picture 2" descr="Blue ink underwater">
            <a:extLst>
              <a:ext uri="{FF2B5EF4-FFF2-40B4-BE49-F238E27FC236}">
                <a16:creationId xmlns:a16="http://schemas.microsoft.com/office/drawing/2014/main" id="{A984225D-12CA-0123-0DD7-02615230F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37" r="25473"/>
          <a:stretch/>
        </p:blipFill>
        <p:spPr>
          <a:xfrm>
            <a:off x="-1" y="0"/>
            <a:ext cx="5105401" cy="6858000"/>
          </a:xfrm>
          <a:prstGeom prst="rect">
            <a:avLst/>
          </a:prstGeom>
        </p:spPr>
      </p:pic>
      <p:pic>
        <p:nvPicPr>
          <p:cNvPr id="2050" name="Picture 2" descr="person in black long sleeve shirt holding persons hand">
            <a:extLst>
              <a:ext uri="{FF2B5EF4-FFF2-40B4-BE49-F238E27FC236}">
                <a16:creationId xmlns:a16="http://schemas.microsoft.com/office/drawing/2014/main" id="{9D2DC09E-8734-2AFF-A568-03BA6532E347}"/>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574" t="6824" b="6824"/>
          <a:stretch/>
        </p:blipFill>
        <p:spPr bwMode="auto">
          <a:xfrm>
            <a:off x="0" y="-3"/>
            <a:ext cx="5105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337C171-9F53-D832-4809-DC23B1484703}"/>
              </a:ext>
            </a:extLst>
          </p:cNvPr>
          <p:cNvSpPr/>
          <p:nvPr userDrawn="1"/>
        </p:nvSpPr>
        <p:spPr>
          <a:xfrm>
            <a:off x="-2" y="-9"/>
            <a:ext cx="5105401" cy="6857999"/>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p>
        </p:txBody>
      </p:sp>
      <p:sp>
        <p:nvSpPr>
          <p:cNvPr id="5" name="Rectangle 27">
            <a:extLst>
              <a:ext uri="{FF2B5EF4-FFF2-40B4-BE49-F238E27FC236}">
                <a16:creationId xmlns:a16="http://schemas.microsoft.com/office/drawing/2014/main" id="{B2382C95-0A18-7B04-D932-255AEBCA9BEB}"/>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solidFill>
              </a:rPr>
              <a:t>Mone</a:t>
            </a:r>
            <a:r>
              <a:rPr lang="en-US" altLang="ja-JP" sz="700">
                <a:solidFill>
                  <a:schemeClr val="bg1"/>
                </a:solidFill>
              </a:rPr>
              <a:t>-G Strategy Alignment on Phase 1B Pilot Implementation</a:t>
            </a:r>
            <a:endParaRPr lang="ja-JP" altLang="en-US" sz="700">
              <a:solidFill>
                <a:schemeClr val="bg1"/>
              </a:solidFill>
            </a:endParaRPr>
          </a:p>
        </p:txBody>
      </p:sp>
    </p:spTree>
    <p:extLst>
      <p:ext uri="{BB962C8B-B14F-4D97-AF65-F5344CB8AC3E}">
        <p14:creationId xmlns:p14="http://schemas.microsoft.com/office/powerpoint/2010/main" val="3211514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a:prstGeom prst="rect">
            <a:avLst/>
          </a:prstGeo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a:prstGeom prst="rect">
            <a:avLst/>
          </a:prstGeo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pic>
        <p:nvPicPr>
          <p:cNvPr id="1026" name="Picture 2" descr="Imprint ALPOLIC">
            <a:extLst>
              <a:ext uri="{FF2B5EF4-FFF2-40B4-BE49-F238E27FC236}">
                <a16:creationId xmlns:a16="http://schemas.microsoft.com/office/drawing/2014/main" id="{3524F937-5217-BDC7-07CD-5BB8DDC8AFA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0314"/>
          <a:stretch/>
        </p:blipFill>
        <p:spPr bwMode="auto">
          <a:xfrm>
            <a:off x="10825480" y="203200"/>
            <a:ext cx="466301" cy="26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451714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pic>
        <p:nvPicPr>
          <p:cNvPr id="3" name="Picture 2" descr="Imprint ALPOLIC">
            <a:extLst>
              <a:ext uri="{FF2B5EF4-FFF2-40B4-BE49-F238E27FC236}">
                <a16:creationId xmlns:a16="http://schemas.microsoft.com/office/drawing/2014/main" id="{2FC4AF64-4983-6BF4-80E4-7C56056D065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0314"/>
          <a:stretch/>
        </p:blipFill>
        <p:spPr bwMode="auto">
          <a:xfrm>
            <a:off x="10812776" y="203200"/>
            <a:ext cx="466301" cy="26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4265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6" name="Rectangle 15"/>
          <p:cNvSpPr/>
          <p:nvPr/>
        </p:nvSpPr>
        <p:spPr>
          <a:xfrm>
            <a:off x="6466318" y="477072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 name="Rectangle 1">
            <a:extLst>
              <a:ext uri="{FF2B5EF4-FFF2-40B4-BE49-F238E27FC236}">
                <a16:creationId xmlns:a16="http://schemas.microsoft.com/office/drawing/2014/main" id="{3688D30D-F31D-D606-0E9D-143288060492}"/>
              </a:ext>
            </a:extLst>
          </p:cNvPr>
          <p:cNvSpPr/>
          <p:nvPr userDrawn="1"/>
        </p:nvSpPr>
        <p:spPr>
          <a:xfrm>
            <a:off x="6418946" y="346325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endParaRPr>
          </a:p>
        </p:txBody>
      </p:sp>
      <p:sp>
        <p:nvSpPr>
          <p:cNvPr id="3" name="Rectangle 2">
            <a:extLst>
              <a:ext uri="{FF2B5EF4-FFF2-40B4-BE49-F238E27FC236}">
                <a16:creationId xmlns:a16="http://schemas.microsoft.com/office/drawing/2014/main" id="{DC1EE21D-47F4-0B81-4644-138677CB2982}"/>
              </a:ext>
            </a:extLst>
          </p:cNvPr>
          <p:cNvSpPr/>
          <p:nvPr userDrawn="1"/>
        </p:nvSpPr>
        <p:spPr>
          <a:xfrm>
            <a:off x="6418946" y="308399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2"/>
                </a:solidFill>
              </a:rPr>
              <a:t>About Capgemini</a:t>
            </a:r>
          </a:p>
        </p:txBody>
      </p:sp>
      <p:pic>
        <p:nvPicPr>
          <p:cNvPr id="5" name="Image 5" descr="Une image contenant texte&#10;&#10;Description générée automatiquement">
            <a:extLst>
              <a:ext uri="{FF2B5EF4-FFF2-40B4-BE49-F238E27FC236}">
                <a16:creationId xmlns:a16="http://schemas.microsoft.com/office/drawing/2014/main" id="{9C9E14D8-4631-7F56-1F4F-6F6ACE00B50D}"/>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204448" y="819348"/>
            <a:ext cx="3078000" cy="1248074"/>
          </a:xfrm>
          <a:prstGeom prst="rect">
            <a:avLst/>
          </a:prstGeom>
        </p:spPr>
      </p:pic>
    </p:spTree>
    <p:extLst>
      <p:ext uri="{BB962C8B-B14F-4D97-AF65-F5344CB8AC3E}">
        <p14:creationId xmlns:p14="http://schemas.microsoft.com/office/powerpoint/2010/main" val="40907122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16" name="テキスト プレースホルダー 13">
            <a:extLst>
              <a:ext uri="{FF2B5EF4-FFF2-40B4-BE49-F238E27FC236}">
                <a16:creationId xmlns:a16="http://schemas.microsoft.com/office/drawing/2014/main" id="{00F0339F-31B1-E853-007B-4316C81C0E2E}"/>
              </a:ext>
            </a:extLst>
          </p:cNvPr>
          <p:cNvSpPr>
            <a:spLocks noGrp="1"/>
          </p:cNvSpPr>
          <p:nvPr>
            <p:ph type="body" sz="quarter" idx="11" hasCustomPrompt="1"/>
          </p:nvPr>
        </p:nvSpPr>
        <p:spPr>
          <a:xfrm>
            <a:off x="228988" y="1197288"/>
            <a:ext cx="5760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20" name="テキスト プレースホルダー 13">
            <a:extLst>
              <a:ext uri="{FF2B5EF4-FFF2-40B4-BE49-F238E27FC236}">
                <a16:creationId xmlns:a16="http://schemas.microsoft.com/office/drawing/2014/main" id="{8B8C0042-761E-BFFD-163D-6ADF21538D65}"/>
              </a:ext>
            </a:extLst>
          </p:cNvPr>
          <p:cNvSpPr>
            <a:spLocks noGrp="1"/>
          </p:cNvSpPr>
          <p:nvPr>
            <p:ph type="body" sz="quarter" idx="12" hasCustomPrompt="1"/>
          </p:nvPr>
        </p:nvSpPr>
        <p:spPr>
          <a:xfrm>
            <a:off x="6204988" y="1197288"/>
            <a:ext cx="5760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18" name="正方形/長方形 17">
            <a:extLst>
              <a:ext uri="{FF2B5EF4-FFF2-40B4-BE49-F238E27FC236}">
                <a16:creationId xmlns:a16="http://schemas.microsoft.com/office/drawing/2014/main" id="{17DB059A-993A-AA54-0335-384E00B89AAC}"/>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1" name="直線コネクタ 20">
            <a:extLst>
              <a:ext uri="{FF2B5EF4-FFF2-40B4-BE49-F238E27FC236}">
                <a16:creationId xmlns:a16="http://schemas.microsoft.com/office/drawing/2014/main" id="{5871354C-6BF6-FA2E-3C77-84B364ABC070}"/>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スライド番号プレースホルダー 3">
            <a:extLst>
              <a:ext uri="{FF2B5EF4-FFF2-40B4-BE49-F238E27FC236}">
                <a16:creationId xmlns:a16="http://schemas.microsoft.com/office/drawing/2014/main" id="{BD9A1FA5-B487-E837-4D52-49908F72E19E}"/>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F9D6B515-4B40-5A7C-4E93-A772ADB5912C}"/>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9" name="直線コネクタ 6">
            <a:extLst>
              <a:ext uri="{FF2B5EF4-FFF2-40B4-BE49-F238E27FC236}">
                <a16:creationId xmlns:a16="http://schemas.microsoft.com/office/drawing/2014/main" id="{0415F5C1-00C1-4772-ADBC-5B5043DF4F47}"/>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DC8ED10C-73EE-41D0-9996-844E3273EF9C}"/>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8322659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815639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2" descr="SHINKOLITE™ DX &amp; L | Products | Shinkolite | Mitsubishi Chemical Corporation">
            <a:extLst>
              <a:ext uri="{FF2B5EF4-FFF2-40B4-BE49-F238E27FC236}">
                <a16:creationId xmlns:a16="http://schemas.microsoft.com/office/drawing/2014/main" id="{D5B98656-DCF9-4577-A802-2AD92BBFEE17}"/>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81000"/>
                    </a14:imgEffect>
                  </a14:imgLayer>
                </a14:imgProps>
              </a:ext>
              <a:ext uri="{28A0092B-C50C-407E-A947-70E740481C1C}">
                <a14:useLocalDpi xmlns:a14="http://schemas.microsoft.com/office/drawing/2010/main" val="0"/>
              </a:ext>
            </a:extLst>
          </a:blip>
          <a:srcRect/>
          <a:stretch>
            <a:fillRect/>
          </a:stretch>
        </p:blipFill>
        <p:spPr bwMode="auto">
          <a:xfrm>
            <a:off x="0" y="-4790"/>
            <a:ext cx="12192000" cy="6871934"/>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0A924D31-4F3C-45A3-AD84-C1078E246DDE}"/>
              </a:ext>
            </a:extLst>
          </p:cNvPr>
          <p:cNvSpPr>
            <a:spLocks noGrp="1"/>
          </p:cNvSpPr>
          <p:nvPr>
            <p:ph sz="quarter" idx="10"/>
          </p:nvPr>
        </p:nvSpPr>
        <p:spPr>
          <a:xfrm>
            <a:off x="731838" y="2389003"/>
            <a:ext cx="10799762" cy="1539875"/>
          </a:xfrm>
          <a:prstGeom prst="rect">
            <a:avLst/>
          </a:prstGeom>
        </p:spPr>
        <p:txBody>
          <a:bodyPr anchor="ctr"/>
          <a:lstStyle>
            <a:lvl1pPr algn="ctr">
              <a:spcAft>
                <a:spcPts val="0"/>
              </a:spcAft>
              <a:defRPr lang="en-US" sz="4800" dirty="0" smtClean="0">
                <a:solidFill>
                  <a:schemeClr val="bg1"/>
                </a:solidFill>
                <a:latin typeface="+mj-lt"/>
              </a:defRPr>
            </a:lvl1pPr>
            <a:lvl2pPr marL="0" indent="0" algn="ctr">
              <a:spcAft>
                <a:spcPts val="0"/>
              </a:spcAft>
              <a:buNone/>
              <a:defRPr lang="en-US" sz="1200" baseline="0" dirty="0" smtClean="0">
                <a:latin typeface="Ubuntu" panose="020B0504030602030204" pitchFamily="34" charset="0"/>
              </a:defRPr>
            </a:lvl2pPr>
            <a:lvl3pPr>
              <a:defRPr lang="en-US" sz="1200" baseline="0" dirty="0" smtClean="0">
                <a:latin typeface="Ubuntu" panose="020B0504030602030204" pitchFamily="34" charset="0"/>
              </a:defRPr>
            </a:lvl3pPr>
            <a:lvl4pPr>
              <a:defRPr lang="en-US" baseline="0" dirty="0" smtClean="0">
                <a:latin typeface="Ubuntu" panose="020B0504030602030204" pitchFamily="34" charset="0"/>
              </a:defRPr>
            </a:lvl4pPr>
            <a:lvl5pPr>
              <a:defRPr lang="en-US" sz="1200" baseline="0" dirty="0">
                <a:latin typeface="Ubuntu" panose="020B0504030602030204" pitchFamily="34" charset="0"/>
              </a:defRPr>
            </a:lvl5pPr>
          </a:lstStyle>
          <a:p>
            <a:pPr lvl="0" algn="ctr">
              <a:lnSpc>
                <a:spcPct val="100000"/>
              </a:lnSpc>
              <a:spcBef>
                <a:spcPts val="0"/>
              </a:spcBef>
              <a:spcAft>
                <a:spcPts val="600"/>
              </a:spcAft>
              <a:buNone/>
            </a:pPr>
            <a:r>
              <a:rPr lang="en-US"/>
              <a:t>Click to edit Master text styles</a:t>
            </a:r>
          </a:p>
          <a:p>
            <a:pPr marL="177800" lvl="1" indent="-177800">
              <a:spcBef>
                <a:spcPts val="0"/>
              </a:spcBef>
              <a:spcAft>
                <a:spcPts val="600"/>
              </a:spcAft>
              <a:buClr>
                <a:schemeClr val="accent1"/>
              </a:buClr>
              <a:buFont typeface="Wingdings" panose="05000000000000000000" pitchFamily="2" charset="2"/>
              <a:buChar char="§"/>
            </a:pPr>
            <a:endParaRPr lang="en-US"/>
          </a:p>
        </p:txBody>
      </p:sp>
      <p:sp>
        <p:nvSpPr>
          <p:cNvPr id="2" name="Retângulo 43">
            <a:extLst>
              <a:ext uri="{FF2B5EF4-FFF2-40B4-BE49-F238E27FC236}">
                <a16:creationId xmlns:a16="http://schemas.microsoft.com/office/drawing/2014/main" id="{F7666A7F-22CB-7483-DBA4-2EE0A4EE9E63}"/>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solidFill>
              <a:latin typeface="Ubuntu" panose="020B0504030602030204" pitchFamily="34" charset="0"/>
              <a:ea typeface="+mn-ea"/>
              <a:cs typeface="+mn-cs"/>
            </a:endParaRPr>
          </a:p>
        </p:txBody>
      </p:sp>
      <p:sp>
        <p:nvSpPr>
          <p:cNvPr id="3" name="Rectangle 27">
            <a:extLst>
              <a:ext uri="{FF2B5EF4-FFF2-40B4-BE49-F238E27FC236}">
                <a16:creationId xmlns:a16="http://schemas.microsoft.com/office/drawing/2014/main" id="{24A8385B-9114-7753-93FA-79F2B4758F30}"/>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Ubuntu" panose="020B0504030602030204" pitchFamily="34" charset="0"/>
                <a:ea typeface="+mn-ea"/>
                <a:cs typeface="+mn-cs"/>
              </a:rPr>
              <a:t>Company Confidential © Capgemini 2023. All rights reserved  |</a:t>
            </a:r>
          </a:p>
        </p:txBody>
      </p:sp>
      <p:grpSp>
        <p:nvGrpSpPr>
          <p:cNvPr id="4" name="Groupe 1">
            <a:extLst>
              <a:ext uri="{FF2B5EF4-FFF2-40B4-BE49-F238E27FC236}">
                <a16:creationId xmlns:a16="http://schemas.microsoft.com/office/drawing/2014/main" id="{F34D46EB-A69C-806F-49B6-C41444470CAF}"/>
              </a:ext>
            </a:extLst>
          </p:cNvPr>
          <p:cNvGrpSpPr>
            <a:grpSpLocks noChangeAspect="1"/>
          </p:cNvGrpSpPr>
          <p:nvPr userDrawn="1"/>
        </p:nvGrpSpPr>
        <p:grpSpPr>
          <a:xfrm>
            <a:off x="11370250" y="209234"/>
            <a:ext cx="364549" cy="338085"/>
            <a:chOff x="11501102" y="171573"/>
            <a:chExt cx="419436" cy="388988"/>
          </a:xfrm>
        </p:grpSpPr>
        <p:sp>
          <p:nvSpPr>
            <p:cNvPr id="6" name="Freeform 13">
              <a:extLst>
                <a:ext uri="{FF2B5EF4-FFF2-40B4-BE49-F238E27FC236}">
                  <a16:creationId xmlns:a16="http://schemas.microsoft.com/office/drawing/2014/main" id="{2DEAECDB-6842-C2FE-0E04-57F7033B143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4F31A2F-D0AB-973A-6238-82BE8120972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 name="図 12" descr="アイコン&#10;&#10;低い精度で自動的に生成された説明">
            <a:extLst>
              <a:ext uri="{FF2B5EF4-FFF2-40B4-BE49-F238E27FC236}">
                <a16:creationId xmlns:a16="http://schemas.microsoft.com/office/drawing/2014/main" id="{49BE005E-7731-D2AA-6215-9F396932C27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Tree>
    <p:extLst>
      <p:ext uri="{BB962C8B-B14F-4D97-AF65-F5344CB8AC3E}">
        <p14:creationId xmlns:p14="http://schemas.microsoft.com/office/powerpoint/2010/main" val="162010969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EF29FC-859B-4DA7-A251-EF8A52B91215}"/>
              </a:ext>
            </a:extLst>
          </p:cNvPr>
          <p:cNvSpPr>
            <a:spLocks noGrp="1"/>
          </p:cNvSpPr>
          <p:nvPr>
            <p:ph type="title"/>
          </p:nvPr>
        </p:nvSpPr>
        <p:spPr/>
        <p:txBody>
          <a:bodyPr/>
          <a:lstStyle>
            <a:lvl1pPr>
              <a:defRPr sz="2400"/>
            </a:lvl1pPr>
          </a:lstStyle>
          <a:p>
            <a:r>
              <a:rPr lang="en-US"/>
              <a:t>Click to edit Master title style</a:t>
            </a:r>
            <a:endParaRPr lang="en-IN"/>
          </a:p>
        </p:txBody>
      </p:sp>
    </p:spTree>
    <p:extLst>
      <p:ext uri="{BB962C8B-B14F-4D97-AF65-F5344CB8AC3E}">
        <p14:creationId xmlns:p14="http://schemas.microsoft.com/office/powerpoint/2010/main" val="614731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nchor="t"/>
          <a:lstStyle/>
          <a:p>
            <a:r>
              <a:rPr lang="en-US"/>
              <a:t>Click to edit Master title style</a:t>
            </a:r>
            <a:endParaRPr lang="de-DE"/>
          </a:p>
        </p:txBody>
      </p:sp>
    </p:spTree>
    <p:extLst>
      <p:ext uri="{BB962C8B-B14F-4D97-AF65-F5344CB8AC3E}">
        <p14:creationId xmlns:p14="http://schemas.microsoft.com/office/powerpoint/2010/main" val="2472944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763814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30232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green_circular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en" altLang="ja-JP"/>
              <a:t>Text Arial 16pt / Line spacing 1.5 </a:t>
            </a:r>
            <a:br>
              <a:rPr kumimoji="1" lang="en-US" altLang="ja-JP"/>
            </a:br>
            <a:r>
              <a:rPr kumimoji="1" lang="en-US" altLang="ja-JP"/>
              <a:t>Theme Color</a:t>
            </a:r>
            <a:r>
              <a:rPr kumimoji="1" lang="ja-JP" altLang="en-US"/>
              <a:t>：</a:t>
            </a:r>
            <a:r>
              <a:rPr kumimoji="1" lang="en-US" altLang="ja-JP"/>
              <a:t>Green and Cool gray</a:t>
            </a:r>
          </a:p>
        </p:txBody>
      </p:sp>
      <p:pic>
        <p:nvPicPr>
          <p:cNvPr id="10" name="図 9" descr="図形&#10;&#10;中程度の精度で自動的に生成された説明">
            <a:extLst>
              <a:ext uri="{FF2B5EF4-FFF2-40B4-BE49-F238E27FC236}">
                <a16:creationId xmlns:a16="http://schemas.microsoft.com/office/drawing/2014/main" id="{C69D6576-8772-E9C9-93AC-25EDDE921743}"/>
              </a:ext>
            </a:extLst>
          </p:cNvPr>
          <p:cNvPicPr>
            <a:picLocks noChangeAspect="1"/>
          </p:cNvPicPr>
          <p:nvPr userDrawn="1"/>
        </p:nvPicPr>
        <p:blipFill>
          <a:blip r:embed="rId2"/>
          <a:stretch>
            <a:fillRect/>
          </a:stretch>
        </p:blipFill>
        <p:spPr>
          <a:xfrm>
            <a:off x="9017000" y="4064000"/>
            <a:ext cx="3175000" cy="2794000"/>
          </a:xfrm>
          <a:prstGeom prst="rect">
            <a:avLst/>
          </a:prstGeom>
        </p:spPr>
      </p:pic>
      <p:sp>
        <p:nvSpPr>
          <p:cNvPr id="5" name="テキスト ボックス 2">
            <a:extLst>
              <a:ext uri="{FF2B5EF4-FFF2-40B4-BE49-F238E27FC236}">
                <a16:creationId xmlns:a16="http://schemas.microsoft.com/office/drawing/2014/main" id="{9BAE76B5-923E-6DAC-D85B-2C4F955ACCCB}"/>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409308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0" i="0">
                <a:solidFill>
                  <a:srgbClr val="272936"/>
                </a:solidFill>
                <a:latin typeface="Microsoft Sans Serif"/>
                <a:cs typeface="Microsoft Sans Serif"/>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700" b="0" i="0">
                <a:solidFill>
                  <a:srgbClr val="7E7E7E"/>
                </a:solidFill>
                <a:latin typeface="Microsoft Sans Serif"/>
                <a:cs typeface="Microsoft Sans Serif"/>
              </a:defRPr>
            </a:lvl1pPr>
          </a:lstStyle>
          <a:p>
            <a:pPr marL="12700">
              <a:lnSpc>
                <a:spcPct val="100000"/>
              </a:lnSpc>
              <a:spcBef>
                <a:spcPts val="45"/>
              </a:spcBef>
            </a:pPr>
            <a:r>
              <a:rPr spc="-15"/>
              <a:t>Mone-G</a:t>
            </a:r>
            <a:r>
              <a:rPr spc="-5"/>
              <a:t> </a:t>
            </a:r>
            <a:r>
              <a:rPr spc="5"/>
              <a:t>Strategy</a:t>
            </a:r>
            <a:r>
              <a:rPr spc="-5"/>
              <a:t> </a:t>
            </a:r>
            <a:r>
              <a:rPr spc="15"/>
              <a:t>Alignment</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7/2023</a:t>
            </a:fld>
            <a:endParaRPr lang="en-US"/>
          </a:p>
        </p:txBody>
      </p:sp>
      <p:sp>
        <p:nvSpPr>
          <p:cNvPr id="6" name="Holder 6"/>
          <p:cNvSpPr>
            <a:spLocks noGrp="1"/>
          </p:cNvSpPr>
          <p:nvPr>
            <p:ph type="sldNum" sz="quarter" idx="7"/>
          </p:nvPr>
        </p:nvSpPr>
        <p:spPr/>
        <p:txBody>
          <a:bodyPr lIns="0" tIns="0" rIns="0" bIns="0"/>
          <a:lstStyle>
            <a:lvl1pPr>
              <a:defRPr sz="700" b="0" i="0">
                <a:solidFill>
                  <a:srgbClr val="7E7E7E"/>
                </a:solidFill>
                <a:latin typeface="Microsoft Sans Serif"/>
                <a:cs typeface="Microsoft Sans Serif"/>
              </a:defRPr>
            </a:lvl1pPr>
          </a:lstStyle>
          <a:p>
            <a:pPr marL="12700">
              <a:lnSpc>
                <a:spcPct val="100000"/>
              </a:lnSpc>
              <a:spcBef>
                <a:spcPts val="45"/>
              </a:spcBef>
            </a:pPr>
            <a:r>
              <a:rPr spc="-10"/>
              <a:t>Company </a:t>
            </a:r>
            <a:r>
              <a:rPr spc="10"/>
              <a:t>Confidential</a:t>
            </a:r>
            <a:r>
              <a:rPr spc="35"/>
              <a:t> </a:t>
            </a:r>
            <a:r>
              <a:rPr spc="50"/>
              <a:t>©</a:t>
            </a:r>
            <a:r>
              <a:rPr spc="-10"/>
              <a:t> </a:t>
            </a:r>
            <a:r>
              <a:rPr spc="-5"/>
              <a:t>Capgemini</a:t>
            </a:r>
            <a:r>
              <a:rPr spc="-15"/>
              <a:t> </a:t>
            </a:r>
            <a:r>
              <a:rPr spc="-5"/>
              <a:t>2023.</a:t>
            </a:r>
            <a:r>
              <a:rPr spc="15"/>
              <a:t> All</a:t>
            </a:r>
            <a:r>
              <a:rPr spc="-15"/>
              <a:t> </a:t>
            </a:r>
            <a:r>
              <a:rPr spc="15"/>
              <a:t>rights</a:t>
            </a:r>
            <a:r>
              <a:rPr spc="10"/>
              <a:t> </a:t>
            </a:r>
            <a:r>
              <a:t>reserved</a:t>
            </a:r>
            <a:r>
              <a:rPr spc="204"/>
              <a:t> </a:t>
            </a:r>
            <a:r>
              <a:rPr spc="10"/>
              <a:t>|   </a:t>
            </a:r>
            <a:r>
              <a:rPr spc="70"/>
              <a:t> </a:t>
            </a:r>
            <a:fld id="{81D60167-4931-47E6-BA6A-407CBD079E47}" type="slidenum">
              <a:rPr dirty="0"/>
              <a:t>‹#›</a:t>
            </a:fld>
            <a:endParaRPr/>
          </a:p>
        </p:txBody>
      </p:sp>
    </p:spTree>
    <p:extLst>
      <p:ext uri="{BB962C8B-B14F-4D97-AF65-F5344CB8AC3E}">
        <p14:creationId xmlns:p14="http://schemas.microsoft.com/office/powerpoint/2010/main" val="3760424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lid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858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41316" name="Picture 4" descr="purple and blue abstract painting">
            <a:extLst>
              <a:ext uri="{FF2B5EF4-FFF2-40B4-BE49-F238E27FC236}">
                <a16:creationId xmlns:a16="http://schemas.microsoft.com/office/drawing/2014/main" id="{A8D315DD-DDA3-1078-7CEB-820C37AB0ACA}"/>
              </a:ext>
            </a:extLst>
          </p:cNvPr>
          <p:cNvPicPr>
            <a:picLocks noChangeAspect="1" noChangeArrowheads="1"/>
          </p:cNvPicPr>
          <p:nvPr userDrawn="1"/>
        </p:nvPicPr>
        <p:blipFill rotWithShape="1">
          <a:blip r:embed="rId2">
            <a:duotone>
              <a:prstClr val="black"/>
              <a:schemeClr val="accent5">
                <a:tint val="45000"/>
                <a:satMod val="400000"/>
              </a:schemeClr>
            </a:duotone>
            <a:extLst>
              <a:ext uri="{28A0092B-C50C-407E-A947-70E740481C1C}">
                <a14:useLocalDpi xmlns:a14="http://schemas.microsoft.com/office/drawing/2010/main" val="0"/>
              </a:ext>
            </a:extLst>
          </a:blip>
          <a:srcRect l="7812" r="7812"/>
          <a:stretch/>
        </p:blipFill>
        <p:spPr bwMode="auto">
          <a:xfrm rot="16200000">
            <a:off x="2667000" y="-2667000"/>
            <a:ext cx="6858000" cy="12192000"/>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
            <a:extLst>
              <a:ext uri="{FF2B5EF4-FFF2-40B4-BE49-F238E27FC236}">
                <a16:creationId xmlns:a16="http://schemas.microsoft.com/office/drawing/2014/main" id="{0F03B378-3A75-4331-764E-61F9C7FCD0DB}"/>
              </a:ext>
            </a:extLst>
          </p:cNvPr>
          <p:cNvSpPr txBox="1">
            <a:spLocks/>
          </p:cNvSpPr>
          <p:nvPr userDrawn="1"/>
        </p:nvSpPr>
        <p:spPr>
          <a:xfrm>
            <a:off x="5918200" y="3429000"/>
            <a:ext cx="2006600" cy="2053622"/>
          </a:xfrm>
          <a:prstGeom prst="rect">
            <a:avLst/>
          </a:prstGeom>
          <a:solidFill>
            <a:srgbClr val="FF000F"/>
          </a:solidFill>
        </p:spPr>
        <p:txBody>
          <a:bodyPr anchor="ct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3200" b="0" kern="1200" baseline="0" dirty="0" smtClean="0">
                <a:solidFill>
                  <a:schemeClr val="bg1"/>
                </a:solidFill>
                <a:latin typeface="+mn-lt"/>
                <a:ea typeface="+mn-ea"/>
                <a:cs typeface="+mn-cs"/>
              </a:defRPr>
            </a:lvl1pPr>
            <a:lvl2pPr marL="0" indent="0" algn="l" defTabSz="914400" rtl="0" eaLnBrk="1" latinLnBrk="0" hangingPunct="1">
              <a:lnSpc>
                <a:spcPct val="100000"/>
              </a:lnSpc>
              <a:spcBef>
                <a:spcPts val="0"/>
              </a:spcBef>
              <a:spcAft>
                <a:spcPts val="0"/>
              </a:spcAft>
              <a:buClr>
                <a:schemeClr val="accent1"/>
              </a:buClr>
              <a:buFont typeface="Wingdings" panose="05000000000000000000" pitchFamily="2" charset="2"/>
              <a:buNone/>
              <a:defRPr lang="en-US" sz="900" b="0" kern="1200" baseline="0" dirty="0" smtClean="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lang="en-US" sz="1200" kern="1200" baseline="0" dirty="0" smtClean="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lang="en-US" sz="1200" kern="1200" baseline="0" dirty="0" smtClean="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lang="en-US" sz="1200" kern="1200" baseline="0" dirty="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1"/>
          </a:p>
        </p:txBody>
      </p:sp>
      <p:sp>
        <p:nvSpPr>
          <p:cNvPr id="9" name="Content Placeholder 2">
            <a:extLst>
              <a:ext uri="{FF2B5EF4-FFF2-40B4-BE49-F238E27FC236}">
                <a16:creationId xmlns:a16="http://schemas.microsoft.com/office/drawing/2014/main" id="{0A924D31-4F3C-45A3-AD84-C1078E246DDE}"/>
              </a:ext>
            </a:extLst>
          </p:cNvPr>
          <p:cNvSpPr>
            <a:spLocks noGrp="1"/>
          </p:cNvSpPr>
          <p:nvPr>
            <p:ph sz="quarter" idx="10" hasCustomPrompt="1"/>
          </p:nvPr>
        </p:nvSpPr>
        <p:spPr>
          <a:xfrm>
            <a:off x="0" y="3822701"/>
            <a:ext cx="7467600" cy="2053622"/>
          </a:xfrm>
          <a:prstGeom prst="rect">
            <a:avLst/>
          </a:prstGeom>
          <a:solidFill>
            <a:schemeClr val="tx1"/>
          </a:solidFill>
        </p:spPr>
        <p:txBody>
          <a:bodyPr anchor="ctr"/>
          <a:lstStyle>
            <a:lvl1pPr algn="l">
              <a:spcAft>
                <a:spcPts val="0"/>
              </a:spcAft>
              <a:defRPr lang="en-US" sz="3200" b="0" dirty="0" smtClean="0">
                <a:solidFill>
                  <a:schemeClr val="bg1"/>
                </a:solidFill>
                <a:latin typeface="+mn-lt"/>
              </a:defRPr>
            </a:lvl1pPr>
            <a:lvl2pPr marL="0" indent="0" algn="l">
              <a:spcAft>
                <a:spcPts val="0"/>
              </a:spcAft>
              <a:buNone/>
              <a:defRPr lang="en-US" sz="900" b="0" baseline="0" dirty="0" smtClean="0">
                <a:latin typeface="+mn-lt"/>
              </a:defRPr>
            </a:lvl2pPr>
            <a:lvl3pPr>
              <a:defRPr lang="en-US" sz="1200" baseline="0" dirty="0" smtClean="0">
                <a:latin typeface="Ubuntu" panose="020B0504030602030204" pitchFamily="34" charset="0"/>
              </a:defRPr>
            </a:lvl3pPr>
            <a:lvl4pPr>
              <a:defRPr lang="en-US" baseline="0" dirty="0" smtClean="0">
                <a:latin typeface="Ubuntu" panose="020B0504030602030204" pitchFamily="34" charset="0"/>
              </a:defRPr>
            </a:lvl4pPr>
            <a:lvl5pPr>
              <a:defRPr lang="en-US" sz="1200" baseline="0" dirty="0">
                <a:latin typeface="Ubuntu" panose="020B0504030602030204" pitchFamily="34" charset="0"/>
              </a:defRPr>
            </a:lvl5pPr>
          </a:lstStyle>
          <a:p>
            <a:pPr lvl="0" algn="ctr">
              <a:lnSpc>
                <a:spcPct val="100000"/>
              </a:lnSpc>
              <a:spcBef>
                <a:spcPts val="0"/>
              </a:spcBef>
              <a:spcAft>
                <a:spcPts val="600"/>
              </a:spcAft>
              <a:buNone/>
            </a:pPr>
            <a:r>
              <a:rPr lang="en-US"/>
              <a:t>Click to edit master text styles</a:t>
            </a:r>
          </a:p>
          <a:p>
            <a:pPr marL="177800" lvl="1" indent="-177800">
              <a:spcBef>
                <a:spcPts val="0"/>
              </a:spcBef>
              <a:spcAft>
                <a:spcPts val="600"/>
              </a:spcAft>
              <a:buClr>
                <a:schemeClr val="accent1"/>
              </a:buClr>
              <a:buFont typeface="Wingdings" panose="05000000000000000000" pitchFamily="2" charset="2"/>
              <a:buChar char="§"/>
            </a:pPr>
            <a:endParaRPr lang="en-US"/>
          </a:p>
        </p:txBody>
      </p:sp>
      <p:sp>
        <p:nvSpPr>
          <p:cNvPr id="2" name="Retângulo 43">
            <a:extLst>
              <a:ext uri="{FF2B5EF4-FFF2-40B4-BE49-F238E27FC236}">
                <a16:creationId xmlns:a16="http://schemas.microsoft.com/office/drawing/2014/main" id="{F7666A7F-22CB-7483-DBA4-2EE0A4EE9E63}"/>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solidFill>
              <a:latin typeface="Ubuntu" panose="020B0504030602030204" pitchFamily="34" charset="0"/>
              <a:ea typeface="+mn-ea"/>
              <a:cs typeface="+mn-cs"/>
            </a:endParaRPr>
          </a:p>
        </p:txBody>
      </p:sp>
      <p:sp>
        <p:nvSpPr>
          <p:cNvPr id="3" name="Rectangle 27">
            <a:extLst>
              <a:ext uri="{FF2B5EF4-FFF2-40B4-BE49-F238E27FC236}">
                <a16:creationId xmlns:a16="http://schemas.microsoft.com/office/drawing/2014/main" id="{24A8385B-9114-7753-93FA-79F2B4758F30}"/>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Ubuntu" panose="020B0504030602030204" pitchFamily="34" charset="0"/>
                <a:ea typeface="+mn-ea"/>
                <a:cs typeface="+mn-cs"/>
              </a:rPr>
              <a:t>Company Confidential © Capgemini 2023. All rights reserved  |</a:t>
            </a:r>
          </a:p>
        </p:txBody>
      </p:sp>
      <p:grpSp>
        <p:nvGrpSpPr>
          <p:cNvPr id="4" name="Groupe 1">
            <a:extLst>
              <a:ext uri="{FF2B5EF4-FFF2-40B4-BE49-F238E27FC236}">
                <a16:creationId xmlns:a16="http://schemas.microsoft.com/office/drawing/2014/main" id="{F34D46EB-A69C-806F-49B6-C41444470CAF}"/>
              </a:ext>
            </a:extLst>
          </p:cNvPr>
          <p:cNvGrpSpPr>
            <a:grpSpLocks noChangeAspect="1"/>
          </p:cNvGrpSpPr>
          <p:nvPr userDrawn="1"/>
        </p:nvGrpSpPr>
        <p:grpSpPr>
          <a:xfrm>
            <a:off x="11370250" y="209234"/>
            <a:ext cx="364549" cy="338085"/>
            <a:chOff x="11501102" y="171573"/>
            <a:chExt cx="419436" cy="388988"/>
          </a:xfrm>
        </p:grpSpPr>
        <p:sp>
          <p:nvSpPr>
            <p:cNvPr id="6" name="Freeform 13">
              <a:extLst>
                <a:ext uri="{FF2B5EF4-FFF2-40B4-BE49-F238E27FC236}">
                  <a16:creationId xmlns:a16="http://schemas.microsoft.com/office/drawing/2014/main" id="{2DEAECDB-6842-C2FE-0E04-57F7033B143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4F31A2F-D0AB-973A-6238-82BE8120972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 name="図 12" descr="アイコン&#10;&#10;低い精度で自動的に生成された説明">
            <a:extLst>
              <a:ext uri="{FF2B5EF4-FFF2-40B4-BE49-F238E27FC236}">
                <a16:creationId xmlns:a16="http://schemas.microsoft.com/office/drawing/2014/main" id="{49BE005E-7731-D2AA-6215-9F396932C2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
        <p:nvSpPr>
          <p:cNvPr id="7" name="Rectangle 27">
            <a:extLst>
              <a:ext uri="{FF2B5EF4-FFF2-40B4-BE49-F238E27FC236}">
                <a16:creationId xmlns:a16="http://schemas.microsoft.com/office/drawing/2014/main" id="{E64AFCBC-5B64-7960-1E90-8D1DBB6A89B6}"/>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solidFill>
              </a:rPr>
              <a:t>Mone</a:t>
            </a:r>
            <a:r>
              <a:rPr lang="en-US" altLang="ja-JP" sz="700">
                <a:solidFill>
                  <a:schemeClr val="bg1"/>
                </a:solidFill>
              </a:rPr>
              <a:t>-G Strategy Alignment on Phase 1B Pilot Implementation</a:t>
            </a:r>
            <a:endParaRPr lang="ja-JP" altLang="en-US" sz="700">
              <a:solidFill>
                <a:schemeClr val="bg1"/>
              </a:solidFill>
            </a:endParaRPr>
          </a:p>
        </p:txBody>
      </p:sp>
    </p:spTree>
    <p:extLst>
      <p:ext uri="{BB962C8B-B14F-4D97-AF65-F5344CB8AC3E}">
        <p14:creationId xmlns:p14="http://schemas.microsoft.com/office/powerpoint/2010/main" val="10764684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3">
    <p:spTree>
      <p:nvGrpSpPr>
        <p:cNvPr id="1" name=""/>
        <p:cNvGrpSpPr/>
        <p:nvPr/>
      </p:nvGrpSpPr>
      <p:grpSpPr>
        <a:xfrm>
          <a:off x="0" y="0"/>
          <a:ext cx="0" cy="0"/>
          <a:chOff x="0" y="0"/>
          <a:chExt cx="0" cy="0"/>
        </a:xfrm>
      </p:grpSpPr>
      <p:sp>
        <p:nvSpPr>
          <p:cNvPr id="17" name="図プレースホルダー 3">
            <a:extLst>
              <a:ext uri="{FF2B5EF4-FFF2-40B4-BE49-F238E27FC236}">
                <a16:creationId xmlns:a16="http://schemas.microsoft.com/office/drawing/2014/main" id="{25496A93-1D62-25AF-574D-09D81F48E3DC}"/>
              </a:ext>
            </a:extLst>
          </p:cNvPr>
          <p:cNvSpPr>
            <a:spLocks noGrp="1"/>
          </p:cNvSpPr>
          <p:nvPr>
            <p:ph type="pic" sz="quarter" idx="13" hasCustomPrompt="1"/>
          </p:nvPr>
        </p:nvSpPr>
        <p:spPr>
          <a:xfrm>
            <a:off x="228988" y="1197288"/>
            <a:ext cx="11736000" cy="5040000"/>
          </a:xfrm>
        </p:spPr>
        <p:txBody>
          <a:bodyPr lIns="180000" tIns="72000" rIns="180000">
            <a:normAutofit/>
          </a:bodyPr>
          <a:lstStyle>
            <a:lvl1pPr>
              <a:buNone/>
              <a:defRPr sz="1600"/>
            </a:lvl1pPr>
          </a:lstStyle>
          <a:p>
            <a:pPr lvl="0"/>
            <a:r>
              <a:rPr kumimoji="1" lang="en-US" altLang="ja-JP"/>
              <a:t> Picture, graphic</a:t>
            </a:r>
            <a:endParaRPr kumimoji="1" lang="ja-JP" altLang="en-US"/>
          </a:p>
        </p:txBody>
      </p:sp>
      <p:sp>
        <p:nvSpPr>
          <p:cNvPr id="18" name="正方形/長方形 17">
            <a:extLst>
              <a:ext uri="{FF2B5EF4-FFF2-40B4-BE49-F238E27FC236}">
                <a16:creationId xmlns:a16="http://schemas.microsoft.com/office/drawing/2014/main" id="{1A18FD81-88FA-8D10-93A4-CA0238D592BD}"/>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19" name="直線コネクタ 18">
            <a:extLst>
              <a:ext uri="{FF2B5EF4-FFF2-40B4-BE49-F238E27FC236}">
                <a16:creationId xmlns:a16="http://schemas.microsoft.com/office/drawing/2014/main" id="{EEA4F11D-ADDD-D51A-E30D-BAE8D43EB1FA}"/>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スライド番号プレースホルダー 3">
            <a:extLst>
              <a:ext uri="{FF2B5EF4-FFF2-40B4-BE49-F238E27FC236}">
                <a16:creationId xmlns:a16="http://schemas.microsoft.com/office/drawing/2014/main" id="{5A7337B3-8626-D6AB-2DD1-FE9C59C99FD4}"/>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9" name="フッター プレースホルダー 2">
            <a:extLst>
              <a:ext uri="{FF2B5EF4-FFF2-40B4-BE49-F238E27FC236}">
                <a16:creationId xmlns:a16="http://schemas.microsoft.com/office/drawing/2014/main" id="{4DE674D0-D653-B2BE-0C77-927C85C6F9A2}"/>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8" name="直線コネクタ 6">
            <a:extLst>
              <a:ext uri="{FF2B5EF4-FFF2-40B4-BE49-F238E27FC236}">
                <a16:creationId xmlns:a16="http://schemas.microsoft.com/office/drawing/2014/main" id="{506FFF56-D599-4EA1-8994-0B29B8D82A53}"/>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495C8694-FC00-4C3B-9DE2-1E2CB5824B07}"/>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928711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pic 1">
    <p:spTree>
      <p:nvGrpSpPr>
        <p:cNvPr id="1" name=""/>
        <p:cNvGrpSpPr/>
        <p:nvPr/>
      </p:nvGrpSpPr>
      <p:grpSpPr>
        <a:xfrm>
          <a:off x="0" y="0"/>
          <a:ext cx="0" cy="0"/>
          <a:chOff x="0" y="0"/>
          <a:chExt cx="0" cy="0"/>
        </a:xfrm>
      </p:grpSpPr>
      <p:sp>
        <p:nvSpPr>
          <p:cNvPr id="22" name="テキスト プレースホルダー 13">
            <a:extLst>
              <a:ext uri="{FF2B5EF4-FFF2-40B4-BE49-F238E27FC236}">
                <a16:creationId xmlns:a16="http://schemas.microsoft.com/office/drawing/2014/main" id="{127C7B05-3C0F-B20D-2360-54A754ACA7E7}"/>
              </a:ext>
            </a:extLst>
          </p:cNvPr>
          <p:cNvSpPr>
            <a:spLocks noGrp="1"/>
          </p:cNvSpPr>
          <p:nvPr>
            <p:ph type="body" sz="quarter" idx="11" hasCustomPrompt="1"/>
          </p:nvPr>
        </p:nvSpPr>
        <p:spPr>
          <a:xfrm>
            <a:off x="2604988" y="1203105"/>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1. Topic title  Arial 18pt</a:t>
            </a:r>
          </a:p>
        </p:txBody>
      </p:sp>
      <p:sp>
        <p:nvSpPr>
          <p:cNvPr id="16" name="テキスト プレースホルダー 13">
            <a:extLst>
              <a:ext uri="{FF2B5EF4-FFF2-40B4-BE49-F238E27FC236}">
                <a16:creationId xmlns:a16="http://schemas.microsoft.com/office/drawing/2014/main" id="{08E509E5-6002-968F-9689-949702FAAA3C}"/>
              </a:ext>
            </a:extLst>
          </p:cNvPr>
          <p:cNvSpPr>
            <a:spLocks noGrp="1"/>
          </p:cNvSpPr>
          <p:nvPr>
            <p:ph type="body" sz="quarter" idx="17" hasCustomPrompt="1"/>
          </p:nvPr>
        </p:nvSpPr>
        <p:spPr>
          <a:xfrm>
            <a:off x="3324988" y="165691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  Arial 16pt</a:t>
            </a:r>
          </a:p>
        </p:txBody>
      </p:sp>
      <p:sp>
        <p:nvSpPr>
          <p:cNvPr id="25" name="正方形/長方形 24">
            <a:extLst>
              <a:ext uri="{FF2B5EF4-FFF2-40B4-BE49-F238E27FC236}">
                <a16:creationId xmlns:a16="http://schemas.microsoft.com/office/drawing/2014/main" id="{BA4C5561-56F1-2BE3-183C-F2F6B7D263C1}"/>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6" name="直線コネクタ 25">
            <a:extLst>
              <a:ext uri="{FF2B5EF4-FFF2-40B4-BE49-F238E27FC236}">
                <a16:creationId xmlns:a16="http://schemas.microsoft.com/office/drawing/2014/main" id="{59B74494-99C6-7456-B8EB-CA07D45A6FE5}"/>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スライド番号プレースホルダー 3">
            <a:extLst>
              <a:ext uri="{FF2B5EF4-FFF2-40B4-BE49-F238E27FC236}">
                <a16:creationId xmlns:a16="http://schemas.microsoft.com/office/drawing/2014/main" id="{4E8E9449-5E24-597D-2466-BC4A4D331AB9}"/>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6" name="テキスト プレースホルダー 13">
            <a:extLst>
              <a:ext uri="{FF2B5EF4-FFF2-40B4-BE49-F238E27FC236}">
                <a16:creationId xmlns:a16="http://schemas.microsoft.com/office/drawing/2014/main" id="{862BB816-54BD-4205-E9D3-A4AB25995AD7}"/>
              </a:ext>
            </a:extLst>
          </p:cNvPr>
          <p:cNvSpPr>
            <a:spLocks noGrp="1"/>
          </p:cNvSpPr>
          <p:nvPr>
            <p:ph type="body" sz="quarter" idx="18" hasCustomPrompt="1"/>
          </p:nvPr>
        </p:nvSpPr>
        <p:spPr>
          <a:xfrm>
            <a:off x="2604988" y="2254032"/>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2. Topic title</a:t>
            </a:r>
          </a:p>
        </p:txBody>
      </p:sp>
      <p:sp>
        <p:nvSpPr>
          <p:cNvPr id="37" name="テキスト プレースホルダー 13">
            <a:extLst>
              <a:ext uri="{FF2B5EF4-FFF2-40B4-BE49-F238E27FC236}">
                <a16:creationId xmlns:a16="http://schemas.microsoft.com/office/drawing/2014/main" id="{9BB17FC1-42EC-2674-0BCD-AF1B06257F3B}"/>
              </a:ext>
            </a:extLst>
          </p:cNvPr>
          <p:cNvSpPr>
            <a:spLocks noGrp="1"/>
          </p:cNvSpPr>
          <p:nvPr>
            <p:ph type="body" sz="quarter" idx="19" hasCustomPrompt="1"/>
          </p:nvPr>
        </p:nvSpPr>
        <p:spPr>
          <a:xfrm>
            <a:off x="3324988" y="2707841"/>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0" name="テキスト プレースホルダー 13">
            <a:extLst>
              <a:ext uri="{FF2B5EF4-FFF2-40B4-BE49-F238E27FC236}">
                <a16:creationId xmlns:a16="http://schemas.microsoft.com/office/drawing/2014/main" id="{C262D9F1-170C-FEE2-2472-3FF004C93A0A}"/>
              </a:ext>
            </a:extLst>
          </p:cNvPr>
          <p:cNvSpPr>
            <a:spLocks noGrp="1"/>
          </p:cNvSpPr>
          <p:nvPr>
            <p:ph type="body" sz="quarter" idx="20" hasCustomPrompt="1"/>
          </p:nvPr>
        </p:nvSpPr>
        <p:spPr>
          <a:xfrm>
            <a:off x="2604988" y="3304959"/>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3. Topic title </a:t>
            </a:r>
          </a:p>
        </p:txBody>
      </p:sp>
      <p:sp>
        <p:nvSpPr>
          <p:cNvPr id="41" name="テキスト プレースホルダー 13">
            <a:extLst>
              <a:ext uri="{FF2B5EF4-FFF2-40B4-BE49-F238E27FC236}">
                <a16:creationId xmlns:a16="http://schemas.microsoft.com/office/drawing/2014/main" id="{D36E4D91-1BF9-091F-E926-8382E7EDEEFD}"/>
              </a:ext>
            </a:extLst>
          </p:cNvPr>
          <p:cNvSpPr>
            <a:spLocks noGrp="1"/>
          </p:cNvSpPr>
          <p:nvPr>
            <p:ph type="body" sz="quarter" idx="21" hasCustomPrompt="1"/>
          </p:nvPr>
        </p:nvSpPr>
        <p:spPr>
          <a:xfrm>
            <a:off x="3324988" y="3758768"/>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2" name="テキスト プレースホルダー 13">
            <a:extLst>
              <a:ext uri="{FF2B5EF4-FFF2-40B4-BE49-F238E27FC236}">
                <a16:creationId xmlns:a16="http://schemas.microsoft.com/office/drawing/2014/main" id="{5E539ABA-F91D-8A2F-E544-DB3EBFAC9108}"/>
              </a:ext>
            </a:extLst>
          </p:cNvPr>
          <p:cNvSpPr>
            <a:spLocks noGrp="1"/>
          </p:cNvSpPr>
          <p:nvPr>
            <p:ph type="body" sz="quarter" idx="22" hasCustomPrompt="1"/>
          </p:nvPr>
        </p:nvSpPr>
        <p:spPr>
          <a:xfrm>
            <a:off x="2604988" y="4355885"/>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4. Topic title </a:t>
            </a:r>
          </a:p>
        </p:txBody>
      </p:sp>
      <p:sp>
        <p:nvSpPr>
          <p:cNvPr id="43" name="テキスト プレースホルダー 13">
            <a:extLst>
              <a:ext uri="{FF2B5EF4-FFF2-40B4-BE49-F238E27FC236}">
                <a16:creationId xmlns:a16="http://schemas.microsoft.com/office/drawing/2014/main" id="{F67B5B7A-896A-DE29-E75A-80E790F361FA}"/>
              </a:ext>
            </a:extLst>
          </p:cNvPr>
          <p:cNvSpPr>
            <a:spLocks noGrp="1"/>
          </p:cNvSpPr>
          <p:nvPr>
            <p:ph type="body" sz="quarter" idx="23" hasCustomPrompt="1"/>
          </p:nvPr>
        </p:nvSpPr>
        <p:spPr>
          <a:xfrm>
            <a:off x="3324988" y="480969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4" name="テキスト プレースホルダー 13">
            <a:extLst>
              <a:ext uri="{FF2B5EF4-FFF2-40B4-BE49-F238E27FC236}">
                <a16:creationId xmlns:a16="http://schemas.microsoft.com/office/drawing/2014/main" id="{433031D6-DD50-5095-0CC8-23D614EBC922}"/>
              </a:ext>
            </a:extLst>
          </p:cNvPr>
          <p:cNvSpPr>
            <a:spLocks noGrp="1"/>
          </p:cNvSpPr>
          <p:nvPr>
            <p:ph type="body" sz="quarter" idx="24" hasCustomPrompt="1"/>
          </p:nvPr>
        </p:nvSpPr>
        <p:spPr>
          <a:xfrm>
            <a:off x="2604988" y="5406811"/>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5. Topic title</a:t>
            </a:r>
          </a:p>
        </p:txBody>
      </p:sp>
      <p:sp>
        <p:nvSpPr>
          <p:cNvPr id="45" name="テキスト プレースホルダー 13">
            <a:extLst>
              <a:ext uri="{FF2B5EF4-FFF2-40B4-BE49-F238E27FC236}">
                <a16:creationId xmlns:a16="http://schemas.microsoft.com/office/drawing/2014/main" id="{6345B59D-EA5D-4847-AC94-092E01E40DFE}"/>
              </a:ext>
            </a:extLst>
          </p:cNvPr>
          <p:cNvSpPr>
            <a:spLocks noGrp="1"/>
          </p:cNvSpPr>
          <p:nvPr>
            <p:ph type="body" sz="quarter" idx="25" hasCustomPrompt="1"/>
          </p:nvPr>
        </p:nvSpPr>
        <p:spPr>
          <a:xfrm>
            <a:off x="3324988" y="5860620"/>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18" name="フッター プレースホルダー 2">
            <a:extLst>
              <a:ext uri="{FF2B5EF4-FFF2-40B4-BE49-F238E27FC236}">
                <a16:creationId xmlns:a16="http://schemas.microsoft.com/office/drawing/2014/main" id="{A13C161A-ABF0-25CD-3E68-068EEBC478FB}"/>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17" name="直線コネクタ 6">
            <a:extLst>
              <a:ext uri="{FF2B5EF4-FFF2-40B4-BE49-F238E27FC236}">
                <a16:creationId xmlns:a16="http://schemas.microsoft.com/office/drawing/2014/main" id="{03791546-1A4B-4A0E-BC6D-2C68C85D037D}"/>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8ED66173-4570-40EF-8E64-5D04F7D723F3}"/>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7124136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 2">
    <p:spTree>
      <p:nvGrpSpPr>
        <p:cNvPr id="1" name=""/>
        <p:cNvGrpSpPr/>
        <p:nvPr/>
      </p:nvGrpSpPr>
      <p:grpSpPr>
        <a:xfrm>
          <a:off x="0" y="0"/>
          <a:ext cx="0" cy="0"/>
          <a:chOff x="0" y="0"/>
          <a:chExt cx="0" cy="0"/>
        </a:xfrm>
      </p:grpSpPr>
      <p:sp>
        <p:nvSpPr>
          <p:cNvPr id="20" name="テキスト プレースホルダー 13">
            <a:extLst>
              <a:ext uri="{FF2B5EF4-FFF2-40B4-BE49-F238E27FC236}">
                <a16:creationId xmlns:a16="http://schemas.microsoft.com/office/drawing/2014/main" id="{68D846FA-517A-1BDC-FC39-E177F82B1D6A}"/>
              </a:ext>
            </a:extLst>
          </p:cNvPr>
          <p:cNvSpPr>
            <a:spLocks noGrp="1"/>
          </p:cNvSpPr>
          <p:nvPr>
            <p:ph type="body" sz="quarter" idx="11" hasCustomPrompt="1"/>
          </p:nvPr>
        </p:nvSpPr>
        <p:spPr>
          <a:xfrm>
            <a:off x="227013"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1.</a:t>
            </a:r>
            <a:br>
              <a:rPr kumimoji="1" lang="en-US" altLang="ja-JP"/>
            </a:br>
            <a:r>
              <a:rPr kumimoji="1" lang="en-US" altLang="ja-JP"/>
              <a:t>Topic title</a:t>
            </a:r>
            <a:br>
              <a:rPr kumimoji="1" lang="en-US" altLang="ja-JP"/>
            </a:br>
            <a:r>
              <a:rPr kumimoji="1" lang="en-US" altLang="ja-JP"/>
              <a:t>Arial 18pt</a:t>
            </a:r>
            <a:br>
              <a:rPr kumimoji="1" lang="en-US" altLang="ja-JP"/>
            </a:br>
            <a:r>
              <a:rPr kumimoji="1" lang="en-US" altLang="ja-JP"/>
              <a:t>Line spacing 1</a:t>
            </a:r>
          </a:p>
        </p:txBody>
      </p:sp>
      <p:sp>
        <p:nvSpPr>
          <p:cNvPr id="21" name="テキスト プレースホルダー 13">
            <a:extLst>
              <a:ext uri="{FF2B5EF4-FFF2-40B4-BE49-F238E27FC236}">
                <a16:creationId xmlns:a16="http://schemas.microsoft.com/office/drawing/2014/main" id="{2E896B08-519F-1B49-CAEA-B43D1178AF68}"/>
              </a:ext>
            </a:extLst>
          </p:cNvPr>
          <p:cNvSpPr>
            <a:spLocks noGrp="1"/>
          </p:cNvSpPr>
          <p:nvPr>
            <p:ph type="body" sz="quarter" idx="37" hasCustomPrompt="1"/>
          </p:nvPr>
        </p:nvSpPr>
        <p:spPr>
          <a:xfrm>
            <a:off x="227013"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br>
              <a:rPr kumimoji="1" lang="en-US" altLang="ja-JP"/>
            </a:br>
            <a:r>
              <a:rPr kumimoji="1" lang="en-US" altLang="ja-JP"/>
              <a:t>Arial 16pt</a:t>
            </a:r>
            <a:br>
              <a:rPr kumimoji="1" lang="en-US" altLang="ja-JP"/>
            </a:br>
            <a:r>
              <a:rPr kumimoji="1" lang="en-US" altLang="ja-JP"/>
              <a:t>Line spacing 1</a:t>
            </a:r>
            <a:endParaRPr kumimoji="1" lang="ja-JP" altLang="en-US"/>
          </a:p>
        </p:txBody>
      </p:sp>
      <p:sp>
        <p:nvSpPr>
          <p:cNvPr id="25" name="正方形/長方形 24">
            <a:extLst>
              <a:ext uri="{FF2B5EF4-FFF2-40B4-BE49-F238E27FC236}">
                <a16:creationId xmlns:a16="http://schemas.microsoft.com/office/drawing/2014/main" id="{7B82DFB4-8892-789E-B2CD-7983B9B4CF0D}"/>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6" name="直線コネクタ 25">
            <a:extLst>
              <a:ext uri="{FF2B5EF4-FFF2-40B4-BE49-F238E27FC236}">
                <a16:creationId xmlns:a16="http://schemas.microsoft.com/office/drawing/2014/main" id="{6A81A413-E438-061D-7C90-F5C58FADD165}"/>
              </a:ext>
            </a:extLst>
          </p:cNvPr>
          <p:cNvCxnSpPr>
            <a:cxnSpLocks/>
          </p:cNvCxnSpPr>
          <p:nvPr userDrawn="1"/>
        </p:nvCxnSpPr>
        <p:spPr>
          <a:xfrm>
            <a:off x="550715" y="6507341"/>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スライド番号プレースホルダー 3">
            <a:extLst>
              <a:ext uri="{FF2B5EF4-FFF2-40B4-BE49-F238E27FC236}">
                <a16:creationId xmlns:a16="http://schemas.microsoft.com/office/drawing/2014/main" id="{6109E172-85B5-D6BA-35E2-71BC0EBAEF77}"/>
              </a:ext>
            </a:extLst>
          </p:cNvPr>
          <p:cNvSpPr>
            <a:spLocks noGrp="1"/>
          </p:cNvSpPr>
          <p:nvPr>
            <p:ph type="sldNum" sz="quarter" idx="4"/>
          </p:nvPr>
        </p:nvSpPr>
        <p:spPr>
          <a:xfrm>
            <a:off x="242501" y="6477000"/>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31" name="テキスト プレースホルダー 13">
            <a:extLst>
              <a:ext uri="{FF2B5EF4-FFF2-40B4-BE49-F238E27FC236}">
                <a16:creationId xmlns:a16="http://schemas.microsoft.com/office/drawing/2014/main" id="{091E2DBB-7DB9-2686-95D3-4E80875ED02D}"/>
              </a:ext>
            </a:extLst>
          </p:cNvPr>
          <p:cNvSpPr>
            <a:spLocks noGrp="1"/>
          </p:cNvSpPr>
          <p:nvPr>
            <p:ph type="body" sz="quarter" idx="38" hasCustomPrompt="1"/>
          </p:nvPr>
        </p:nvSpPr>
        <p:spPr>
          <a:xfrm>
            <a:off x="9729232"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5.</a:t>
            </a:r>
            <a:br>
              <a:rPr kumimoji="1" lang="en-US" altLang="ja-JP"/>
            </a:br>
            <a:r>
              <a:rPr kumimoji="1" lang="en-US" altLang="ja-JP"/>
              <a:t>Topic title</a:t>
            </a:r>
          </a:p>
        </p:txBody>
      </p:sp>
      <p:sp>
        <p:nvSpPr>
          <p:cNvPr id="32" name="テキスト プレースホルダー 13">
            <a:extLst>
              <a:ext uri="{FF2B5EF4-FFF2-40B4-BE49-F238E27FC236}">
                <a16:creationId xmlns:a16="http://schemas.microsoft.com/office/drawing/2014/main" id="{078B0A2C-258F-D3A0-16EC-3E1972B716E7}"/>
              </a:ext>
            </a:extLst>
          </p:cNvPr>
          <p:cNvSpPr>
            <a:spLocks noGrp="1"/>
          </p:cNvSpPr>
          <p:nvPr>
            <p:ph type="body" sz="quarter" idx="39" hasCustomPrompt="1"/>
          </p:nvPr>
        </p:nvSpPr>
        <p:spPr>
          <a:xfrm>
            <a:off x="9729232"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3" name="テキスト プレースホルダー 13">
            <a:extLst>
              <a:ext uri="{FF2B5EF4-FFF2-40B4-BE49-F238E27FC236}">
                <a16:creationId xmlns:a16="http://schemas.microsoft.com/office/drawing/2014/main" id="{D8A912AB-567C-A54D-4F1D-3027E27F6316}"/>
              </a:ext>
            </a:extLst>
          </p:cNvPr>
          <p:cNvSpPr>
            <a:spLocks noGrp="1"/>
          </p:cNvSpPr>
          <p:nvPr>
            <p:ph type="body" sz="quarter" idx="40" hasCustomPrompt="1"/>
          </p:nvPr>
        </p:nvSpPr>
        <p:spPr>
          <a:xfrm>
            <a:off x="4980000"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3.</a:t>
            </a:r>
            <a:br>
              <a:rPr kumimoji="1" lang="en-US" altLang="ja-JP"/>
            </a:br>
            <a:r>
              <a:rPr kumimoji="1" lang="en-US" altLang="ja-JP"/>
              <a:t>Topic title</a:t>
            </a:r>
          </a:p>
        </p:txBody>
      </p:sp>
      <p:sp>
        <p:nvSpPr>
          <p:cNvPr id="34" name="テキスト プレースホルダー 13">
            <a:extLst>
              <a:ext uri="{FF2B5EF4-FFF2-40B4-BE49-F238E27FC236}">
                <a16:creationId xmlns:a16="http://schemas.microsoft.com/office/drawing/2014/main" id="{A1CC399C-A256-16A8-5421-852FF5919F5D}"/>
              </a:ext>
            </a:extLst>
          </p:cNvPr>
          <p:cNvSpPr>
            <a:spLocks noGrp="1"/>
          </p:cNvSpPr>
          <p:nvPr>
            <p:ph type="body" sz="quarter" idx="41" hasCustomPrompt="1"/>
          </p:nvPr>
        </p:nvSpPr>
        <p:spPr>
          <a:xfrm>
            <a:off x="498000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5" name="テキスト プレースホルダー 13">
            <a:extLst>
              <a:ext uri="{FF2B5EF4-FFF2-40B4-BE49-F238E27FC236}">
                <a16:creationId xmlns:a16="http://schemas.microsoft.com/office/drawing/2014/main" id="{F59B86E8-736F-B28D-D00E-E953A7F41FBC}"/>
              </a:ext>
            </a:extLst>
          </p:cNvPr>
          <p:cNvSpPr>
            <a:spLocks noGrp="1"/>
          </p:cNvSpPr>
          <p:nvPr>
            <p:ph type="body" sz="quarter" idx="42" hasCustomPrompt="1"/>
          </p:nvPr>
        </p:nvSpPr>
        <p:spPr>
          <a:xfrm>
            <a:off x="2601628"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2.</a:t>
            </a:r>
            <a:br>
              <a:rPr kumimoji="1" lang="en-US" altLang="ja-JP"/>
            </a:br>
            <a:r>
              <a:rPr kumimoji="1" lang="en-US" altLang="ja-JP"/>
              <a:t>Topic title</a:t>
            </a:r>
          </a:p>
        </p:txBody>
      </p:sp>
      <p:sp>
        <p:nvSpPr>
          <p:cNvPr id="36" name="テキスト プレースホルダー 13">
            <a:extLst>
              <a:ext uri="{FF2B5EF4-FFF2-40B4-BE49-F238E27FC236}">
                <a16:creationId xmlns:a16="http://schemas.microsoft.com/office/drawing/2014/main" id="{147CC392-487E-2E0C-B50A-061957F777ED}"/>
              </a:ext>
            </a:extLst>
          </p:cNvPr>
          <p:cNvSpPr>
            <a:spLocks noGrp="1"/>
          </p:cNvSpPr>
          <p:nvPr>
            <p:ph type="body" sz="quarter" idx="43" hasCustomPrompt="1"/>
          </p:nvPr>
        </p:nvSpPr>
        <p:spPr>
          <a:xfrm>
            <a:off x="2601628"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7" name="テキスト プレースホルダー 13">
            <a:extLst>
              <a:ext uri="{FF2B5EF4-FFF2-40B4-BE49-F238E27FC236}">
                <a16:creationId xmlns:a16="http://schemas.microsoft.com/office/drawing/2014/main" id="{7BEA0843-78F0-59BF-C130-00A11B0158B0}"/>
              </a:ext>
            </a:extLst>
          </p:cNvPr>
          <p:cNvSpPr>
            <a:spLocks noGrp="1"/>
          </p:cNvSpPr>
          <p:nvPr>
            <p:ph type="body" sz="quarter" idx="44" hasCustomPrompt="1"/>
          </p:nvPr>
        </p:nvSpPr>
        <p:spPr>
          <a:xfrm>
            <a:off x="7350860"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4.</a:t>
            </a:r>
            <a:br>
              <a:rPr kumimoji="1" lang="en-US" altLang="ja-JP"/>
            </a:br>
            <a:r>
              <a:rPr kumimoji="1" lang="en-US" altLang="ja-JP"/>
              <a:t>Topic title</a:t>
            </a:r>
          </a:p>
        </p:txBody>
      </p:sp>
      <p:sp>
        <p:nvSpPr>
          <p:cNvPr id="38" name="テキスト プレースホルダー 13">
            <a:extLst>
              <a:ext uri="{FF2B5EF4-FFF2-40B4-BE49-F238E27FC236}">
                <a16:creationId xmlns:a16="http://schemas.microsoft.com/office/drawing/2014/main" id="{A4EC413B-D1FB-83CD-AFD7-13B9F7201C46}"/>
              </a:ext>
            </a:extLst>
          </p:cNvPr>
          <p:cNvSpPr>
            <a:spLocks noGrp="1"/>
          </p:cNvSpPr>
          <p:nvPr>
            <p:ph type="body" sz="quarter" idx="45" hasCustomPrompt="1"/>
          </p:nvPr>
        </p:nvSpPr>
        <p:spPr>
          <a:xfrm>
            <a:off x="735086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18" name="フッター プレースホルダー 2">
            <a:extLst>
              <a:ext uri="{FF2B5EF4-FFF2-40B4-BE49-F238E27FC236}">
                <a16:creationId xmlns:a16="http://schemas.microsoft.com/office/drawing/2014/main" id="{2D057740-B1CC-82F0-B425-1A4E3A31E63D}"/>
              </a:ext>
            </a:extLst>
          </p:cNvPr>
          <p:cNvSpPr>
            <a:spLocks noGrp="1"/>
          </p:cNvSpPr>
          <p:nvPr>
            <p:ph type="ftr" sz="quarter" idx="3"/>
          </p:nvPr>
        </p:nvSpPr>
        <p:spPr>
          <a:xfrm>
            <a:off x="638760" y="6477000"/>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cxnSp>
        <p:nvCxnSpPr>
          <p:cNvPr id="17" name="直線コネクタ 6">
            <a:extLst>
              <a:ext uri="{FF2B5EF4-FFF2-40B4-BE49-F238E27FC236}">
                <a16:creationId xmlns:a16="http://schemas.microsoft.com/office/drawing/2014/main" id="{6C8D8570-E2A3-492A-A044-77C6B2B1E712}"/>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0EE35B0D-2701-4494-9F85-3115C80BEE2E}"/>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3327268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7560" y="838796"/>
            <a:ext cx="11376880" cy="5384412"/>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cxnSp>
        <p:nvCxnSpPr>
          <p:cNvPr id="2" name="直線コネクタ 25">
            <a:extLst>
              <a:ext uri="{FF2B5EF4-FFF2-40B4-BE49-F238E27FC236}">
                <a16:creationId xmlns:a16="http://schemas.microsoft.com/office/drawing/2014/main" id="{0A705632-DCFB-E958-4AE8-93AB2FB02844}"/>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3">
            <a:extLst>
              <a:ext uri="{FF2B5EF4-FFF2-40B4-BE49-F238E27FC236}">
                <a16:creationId xmlns:a16="http://schemas.microsoft.com/office/drawing/2014/main" id="{9B57E6E0-A3BB-9F87-9408-1ACFF5390D5A}"/>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4" name="フッター プレースホルダー 2">
            <a:extLst>
              <a:ext uri="{FF2B5EF4-FFF2-40B4-BE49-F238E27FC236}">
                <a16:creationId xmlns:a16="http://schemas.microsoft.com/office/drawing/2014/main" id="{4576DB0C-EECB-2C65-7CD3-4B31FD7DE6D4}"/>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6" name="タイトル 1">
            <a:extLst>
              <a:ext uri="{FF2B5EF4-FFF2-40B4-BE49-F238E27FC236}">
                <a16:creationId xmlns:a16="http://schemas.microsoft.com/office/drawing/2014/main" id="{E714943B-0428-CC81-FD6C-8C13781AA0EB}"/>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740484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1481BB-FD58-439D-A5D1-337CD4CDBD86}"/>
              </a:ext>
            </a:extLst>
          </p:cNvPr>
          <p:cNvSpPr>
            <a:spLocks noGrp="1"/>
          </p:cNvSpPr>
          <p:nvPr>
            <p:ph type="body" sz="quarter" idx="10"/>
          </p:nvPr>
        </p:nvSpPr>
        <p:spPr>
          <a:xfrm>
            <a:off x="419100" y="1219200"/>
            <a:ext cx="11353800" cy="481013"/>
          </a:xfrm>
          <a:prstGeom prst="rect">
            <a:avLst/>
          </a:prstGeom>
        </p:spPr>
        <p:txBody>
          <a:bodyPr lIns="0" tIns="0" rIns="0" bIns="0"/>
          <a:lstStyle>
            <a:lvl1pPr>
              <a:defRPr sz="1600" b="0">
                <a:solidFill>
                  <a:schemeClr val="accent2"/>
                </a:solidFill>
                <a:latin typeface="+mn-lt"/>
              </a:defRPr>
            </a:lvl1pPr>
          </a:lstStyle>
          <a:p>
            <a:pPr lvl="0"/>
            <a:r>
              <a:rPr lang="en-US" dirty="0"/>
              <a:t>Click to edit Master text styles</a:t>
            </a:r>
          </a:p>
        </p:txBody>
      </p:sp>
      <p:cxnSp>
        <p:nvCxnSpPr>
          <p:cNvPr id="2" name="直線コネクタ 25">
            <a:extLst>
              <a:ext uri="{FF2B5EF4-FFF2-40B4-BE49-F238E27FC236}">
                <a16:creationId xmlns:a16="http://schemas.microsoft.com/office/drawing/2014/main" id="{76E03E6A-9A42-B704-1DC8-DD94F36F657F}"/>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3">
            <a:extLst>
              <a:ext uri="{FF2B5EF4-FFF2-40B4-BE49-F238E27FC236}">
                <a16:creationId xmlns:a16="http://schemas.microsoft.com/office/drawing/2014/main" id="{5955C540-D8D2-5A60-BD6D-3802E35254DB}"/>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6" name="フッター プレースホルダー 2">
            <a:extLst>
              <a:ext uri="{FF2B5EF4-FFF2-40B4-BE49-F238E27FC236}">
                <a16:creationId xmlns:a16="http://schemas.microsoft.com/office/drawing/2014/main" id="{0C35A4BC-27BE-15A5-22D3-57B4FF649121}"/>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7" name="タイトル 1">
            <a:extLst>
              <a:ext uri="{FF2B5EF4-FFF2-40B4-BE49-F238E27FC236}">
                <a16:creationId xmlns:a16="http://schemas.microsoft.com/office/drawing/2014/main" id="{70311C64-CADE-59DF-3326-321C83480998}"/>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2107768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cxnSp>
        <p:nvCxnSpPr>
          <p:cNvPr id="2" name="直線コネクタ 25">
            <a:extLst>
              <a:ext uri="{FF2B5EF4-FFF2-40B4-BE49-F238E27FC236}">
                <a16:creationId xmlns:a16="http://schemas.microsoft.com/office/drawing/2014/main" id="{58AA0B05-E00A-C88F-8F9F-1677FC9E1AA2}"/>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3">
            <a:extLst>
              <a:ext uri="{FF2B5EF4-FFF2-40B4-BE49-F238E27FC236}">
                <a16:creationId xmlns:a16="http://schemas.microsoft.com/office/drawing/2014/main" id="{19848BD2-8A39-7946-69F5-B5B8253B5CA9}"/>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5" name="フッター プレースホルダー 2">
            <a:extLst>
              <a:ext uri="{FF2B5EF4-FFF2-40B4-BE49-F238E27FC236}">
                <a16:creationId xmlns:a16="http://schemas.microsoft.com/office/drawing/2014/main" id="{5254258C-B4FF-3F97-CEA6-478F924CFD62}"/>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6" name="タイトル 1">
            <a:extLst>
              <a:ext uri="{FF2B5EF4-FFF2-40B4-BE49-F238E27FC236}">
                <a16:creationId xmlns:a16="http://schemas.microsoft.com/office/drawing/2014/main" id="{1817F142-ECFD-FDE0-CDB4-47A254E2F1A9}"/>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16992716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3.xml"/><Relationship Id="rId3" Type="http://schemas.openxmlformats.org/officeDocument/2006/relationships/slideLayout" Target="../slideLayouts/slideLayout25.xml"/><Relationship Id="rId21" Type="http://schemas.openxmlformats.org/officeDocument/2006/relationships/oleObject" Target="../embeddings/oleObject2.bin"/><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6.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png"/><Relationship Id="rId10" Type="http://schemas.openxmlformats.org/officeDocument/2006/relationships/slideLayout" Target="../slideLayouts/slideLayout32.xml"/><Relationship Id="rId19" Type="http://schemas.openxmlformats.org/officeDocument/2006/relationships/tags" Target="../tags/tag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正方形/長方形 12">
            <a:extLst>
              <a:ext uri="{FF2B5EF4-FFF2-40B4-BE49-F238E27FC236}">
                <a16:creationId xmlns:a16="http://schemas.microsoft.com/office/drawing/2014/main" id="{B9A9338E-35E7-4891-9862-F9339B101BDB}"/>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30" name="正方形/長方形 29">
            <a:extLst>
              <a:ext uri="{FF2B5EF4-FFF2-40B4-BE49-F238E27FC236}">
                <a16:creationId xmlns:a16="http://schemas.microsoft.com/office/drawing/2014/main" id="{FF82DC5B-BD8E-2762-C092-CF89D2EE529C}"/>
              </a:ext>
            </a:extLst>
          </p:cNvPr>
          <p:cNvSpPr/>
          <p:nvPr userDrawn="1"/>
        </p:nvSpPr>
        <p:spPr>
          <a:xfrm>
            <a:off x="0" y="0"/>
            <a:ext cx="12192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10" name="タイトル プレースホルダー 9"/>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3" name="テキスト プレースホルダー 2"/>
          <p:cNvSpPr>
            <a:spLocks noGrp="1"/>
          </p:cNvSpPr>
          <p:nvPr>
            <p:ph type="body" idx="1"/>
          </p:nvPr>
        </p:nvSpPr>
        <p:spPr>
          <a:xfrm>
            <a:off x="432003" y="1725643"/>
            <a:ext cx="11327998"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
        <p:nvSpPr>
          <p:cNvPr id="38" name="フッター プレースホルダー 2">
            <a:extLst>
              <a:ext uri="{FF2B5EF4-FFF2-40B4-BE49-F238E27FC236}">
                <a16:creationId xmlns:a16="http://schemas.microsoft.com/office/drawing/2014/main" id="{793D33C9-6286-93AD-F690-DD106EE41887}"/>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39" name="スライド番号プレースホルダー 3">
            <a:extLst>
              <a:ext uri="{FF2B5EF4-FFF2-40B4-BE49-F238E27FC236}">
                <a16:creationId xmlns:a16="http://schemas.microsoft.com/office/drawing/2014/main" id="{1E9F7E52-3585-A248-DCF9-10FD61D02510}"/>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pic>
        <p:nvPicPr>
          <p:cNvPr id="13" name="図 12" descr="アイコン&#10;&#10;低い精度で自動的に生成された説明">
            <a:extLst>
              <a:ext uri="{FF2B5EF4-FFF2-40B4-BE49-F238E27FC236}">
                <a16:creationId xmlns:a16="http://schemas.microsoft.com/office/drawing/2014/main" id="{8379A01F-8105-4DFA-DC55-B0DA44C858B2}"/>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689432" y="66163"/>
            <a:ext cx="1441424" cy="662901"/>
          </a:xfrm>
          <a:prstGeom prst="rect">
            <a:avLst/>
          </a:prstGeom>
        </p:spPr>
      </p:pic>
      <p:pic>
        <p:nvPicPr>
          <p:cNvPr id="8" name="図 7">
            <a:extLst>
              <a:ext uri="{FF2B5EF4-FFF2-40B4-BE49-F238E27FC236}">
                <a16:creationId xmlns:a16="http://schemas.microsoft.com/office/drawing/2014/main" id="{D3F37D6A-7194-4377-8FAC-899ECACC4645}"/>
              </a:ext>
            </a:extLst>
          </p:cNvPr>
          <p:cNvPicPr>
            <a:picLocks noChangeAspect="1"/>
          </p:cNvPicPr>
          <p:nvPr userDrawn="1"/>
        </p:nvPicPr>
        <p:blipFill>
          <a:blip r:embed="rId15"/>
          <a:stretch>
            <a:fillRect/>
          </a:stretch>
        </p:blipFill>
        <p:spPr>
          <a:xfrm>
            <a:off x="-1674" y="5125"/>
            <a:ext cx="910932" cy="702460"/>
          </a:xfrm>
          <a:prstGeom prst="rect">
            <a:avLst/>
          </a:prstGeom>
        </p:spPr>
      </p:pic>
    </p:spTree>
    <p:extLst>
      <p:ext uri="{BB962C8B-B14F-4D97-AF65-F5344CB8AC3E}">
        <p14:creationId xmlns:p14="http://schemas.microsoft.com/office/powerpoint/2010/main" val="107314588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91" r:id="rId8"/>
    <p:sldLayoutId id="2147483893" r:id="rId9"/>
    <p:sldLayoutId id="2147483894" r:id="rId10"/>
    <p:sldLayoutId id="2147483913" r:id="rId11"/>
    <p:sldLayoutId id="2147483945" r:id="rId12"/>
  </p:sldLayoutIdLst>
  <p:hf hdr="0" dt="0"/>
  <p:txStyles>
    <p:title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11" rtl="0" eaLnBrk="1" latinLnBrk="0" hangingPunct="1">
        <a:lnSpc>
          <a:spcPct val="150000"/>
        </a:lnSpc>
        <a:spcBef>
          <a:spcPts val="201"/>
        </a:spcBef>
        <a:buFont typeface="Arial" panose="020B0604020202020204" pitchFamily="34" charset="0"/>
        <a:buChar char="•"/>
        <a:defRPr kumimoji="1" sz="1801" kern="1200" baseline="0">
          <a:solidFill>
            <a:schemeClr val="tx1"/>
          </a:solidFill>
          <a:latin typeface="+mn-lt"/>
          <a:ea typeface="+mn-ea"/>
          <a:cs typeface="+mn-cs"/>
        </a:defRPr>
      </a:lvl1pPr>
      <a:lvl2pPr marL="540007" indent="-180002" algn="l" defTabSz="914411" rtl="0" eaLnBrk="1" latinLnBrk="0" hangingPunct="1">
        <a:lnSpc>
          <a:spcPct val="100000"/>
        </a:lnSpc>
        <a:spcBef>
          <a:spcPts val="1001"/>
        </a:spcBef>
        <a:buFont typeface="Arial" panose="020B0604020202020204" pitchFamily="34" charset="0"/>
        <a:buChar char="•"/>
        <a:defRPr kumimoji="1" sz="1600" kern="1200">
          <a:solidFill>
            <a:schemeClr val="tx1"/>
          </a:solidFill>
          <a:latin typeface="+mn-lt"/>
          <a:ea typeface="+mn-ea"/>
          <a:cs typeface="+mn-cs"/>
        </a:defRPr>
      </a:lvl2pPr>
      <a:lvl3pPr marL="900011" indent="-180002" algn="l" defTabSz="914411" rtl="0" eaLnBrk="1" latinLnBrk="0" hangingPunct="1">
        <a:lnSpc>
          <a:spcPct val="100000"/>
        </a:lnSpc>
        <a:spcBef>
          <a:spcPts val="1001"/>
        </a:spcBef>
        <a:buFont typeface="Arial" panose="020B0604020202020204" pitchFamily="34" charset="0"/>
        <a:buChar char="•"/>
        <a:defRPr kumimoji="1" sz="1401" kern="1200">
          <a:solidFill>
            <a:schemeClr val="tx1"/>
          </a:solidFill>
          <a:latin typeface="+mn-lt"/>
          <a:ea typeface="+mn-ea"/>
          <a:cs typeface="+mn-cs"/>
        </a:defRPr>
      </a:lvl3pPr>
      <a:lvl4pPr marL="1260016" indent="-180002" algn="l" defTabSz="914411" rtl="0" eaLnBrk="1" latinLnBrk="0" hangingPunct="1">
        <a:lnSpc>
          <a:spcPct val="100000"/>
        </a:lnSpc>
        <a:spcBef>
          <a:spcPts val="1001"/>
        </a:spcBef>
        <a:buFont typeface="Arial" panose="020B0604020202020204" pitchFamily="34" charset="0"/>
        <a:buChar char="•"/>
        <a:defRPr kumimoji="1" sz="1200" kern="1200">
          <a:solidFill>
            <a:schemeClr val="tx1"/>
          </a:solidFill>
          <a:latin typeface="+mn-lt"/>
          <a:ea typeface="+mn-ea"/>
          <a:cs typeface="+mn-cs"/>
        </a:defRPr>
      </a:lvl4pPr>
      <a:lvl5pPr marL="1620020" indent="-180002" algn="l" defTabSz="914411" rtl="0" eaLnBrk="1" latinLnBrk="0" hangingPunct="1">
        <a:lnSpc>
          <a:spcPct val="100000"/>
        </a:lnSpc>
        <a:spcBef>
          <a:spcPts val="1001"/>
        </a:spcBef>
        <a:buFont typeface="Arial" panose="020B0604020202020204" pitchFamily="34" charset="0"/>
        <a:buChar char="•"/>
        <a:defRPr kumimoji="1" sz="1051" kern="1200">
          <a:solidFill>
            <a:schemeClr val="tx1"/>
          </a:solidFill>
          <a:latin typeface="+mn-lt"/>
          <a:ea typeface="+mn-ea"/>
          <a:cs typeface="+mn-cs"/>
        </a:defRPr>
      </a:lvl5pPr>
      <a:lvl6pPr marL="1980025" indent="-180002" algn="l" defTabSz="914411" rtl="0" eaLnBrk="1" latinLnBrk="0" hangingPunct="1">
        <a:lnSpc>
          <a:spcPct val="100000"/>
        </a:lnSpc>
        <a:spcBef>
          <a:spcPts val="1001"/>
        </a:spcBef>
        <a:buFont typeface="Arial" panose="020B0604020202020204" pitchFamily="34" charset="0"/>
        <a:buChar char="•"/>
        <a:defRPr kumimoji="1" sz="900"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9pPr>
    </p:bodyStyle>
    <p:otherStyle>
      <a:defPPr>
        <a:defRPr lang="en-US"/>
      </a:defPPr>
      <a:lvl1pPr marL="0" algn="l" defTabSz="914411" rtl="0" eaLnBrk="1" latinLnBrk="0" hangingPunct="1">
        <a:defRPr kumimoji="1" sz="1801" kern="1200">
          <a:solidFill>
            <a:schemeClr val="tx1"/>
          </a:solidFill>
          <a:latin typeface="+mn-lt"/>
          <a:ea typeface="+mn-ea"/>
          <a:cs typeface="+mn-cs"/>
        </a:defRPr>
      </a:lvl1pPr>
      <a:lvl2pPr marL="457206" algn="l" defTabSz="914411" rtl="0" eaLnBrk="1" latinLnBrk="0" hangingPunct="1">
        <a:defRPr kumimoji="1" sz="1801" kern="1200">
          <a:solidFill>
            <a:schemeClr val="tx1"/>
          </a:solidFill>
          <a:latin typeface="+mn-lt"/>
          <a:ea typeface="+mn-ea"/>
          <a:cs typeface="+mn-cs"/>
        </a:defRPr>
      </a:lvl2pPr>
      <a:lvl3pPr marL="914411" algn="l" defTabSz="914411" rtl="0" eaLnBrk="1" latinLnBrk="0" hangingPunct="1">
        <a:defRPr kumimoji="1" sz="1801" kern="1200">
          <a:solidFill>
            <a:schemeClr val="tx1"/>
          </a:solidFill>
          <a:latin typeface="+mn-lt"/>
          <a:ea typeface="+mn-ea"/>
          <a:cs typeface="+mn-cs"/>
        </a:defRPr>
      </a:lvl3pPr>
      <a:lvl4pPr marL="1371617" algn="l" defTabSz="914411" rtl="0" eaLnBrk="1" latinLnBrk="0" hangingPunct="1">
        <a:defRPr kumimoji="1" sz="1801" kern="1200">
          <a:solidFill>
            <a:schemeClr val="tx1"/>
          </a:solidFill>
          <a:latin typeface="+mn-lt"/>
          <a:ea typeface="+mn-ea"/>
          <a:cs typeface="+mn-cs"/>
        </a:defRPr>
      </a:lvl4pPr>
      <a:lvl5pPr marL="1828823" algn="l" defTabSz="914411" rtl="0" eaLnBrk="1" latinLnBrk="0" hangingPunct="1">
        <a:defRPr kumimoji="1" sz="1801" kern="1200">
          <a:solidFill>
            <a:schemeClr val="tx1"/>
          </a:solidFill>
          <a:latin typeface="+mn-lt"/>
          <a:ea typeface="+mn-ea"/>
          <a:cs typeface="+mn-cs"/>
        </a:defRPr>
      </a:lvl5pPr>
      <a:lvl6pPr marL="2286029" algn="l" defTabSz="914411" rtl="0" eaLnBrk="1" latinLnBrk="0" hangingPunct="1">
        <a:defRPr kumimoji="1" sz="1801" kern="1200">
          <a:solidFill>
            <a:schemeClr val="tx1"/>
          </a:solidFill>
          <a:latin typeface="+mn-lt"/>
          <a:ea typeface="+mn-ea"/>
          <a:cs typeface="+mn-cs"/>
        </a:defRPr>
      </a:lvl6pPr>
      <a:lvl7pPr marL="2743234" algn="l" defTabSz="914411" rtl="0" eaLnBrk="1" latinLnBrk="0" hangingPunct="1">
        <a:defRPr kumimoji="1" sz="1801" kern="1200">
          <a:solidFill>
            <a:schemeClr val="tx1"/>
          </a:solidFill>
          <a:latin typeface="+mn-lt"/>
          <a:ea typeface="+mn-ea"/>
          <a:cs typeface="+mn-cs"/>
        </a:defRPr>
      </a:lvl7pPr>
      <a:lvl8pPr marL="3200440" algn="l" defTabSz="914411" rtl="0" eaLnBrk="1" latinLnBrk="0" hangingPunct="1">
        <a:defRPr kumimoji="1" sz="1801" kern="1200">
          <a:solidFill>
            <a:schemeClr val="tx1"/>
          </a:solidFill>
          <a:latin typeface="+mn-lt"/>
          <a:ea typeface="+mn-ea"/>
          <a:cs typeface="+mn-cs"/>
        </a:defRPr>
      </a:lvl8pPr>
      <a:lvl9pPr marL="3657646" algn="l" defTabSz="914411" rtl="0" eaLnBrk="1" latinLnBrk="0" hangingPunct="1">
        <a:defRPr kumimoji="1"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5">
          <p15:clr>
            <a:srgbClr val="F26B43"/>
          </p15:clr>
        </p15:guide>
        <p15:guide id="2" pos="6827">
          <p15:clr>
            <a:srgbClr val="F26B43"/>
          </p15:clr>
        </p15:guide>
        <p15:guide id="3" orient="horz" pos="2350">
          <p15:clr>
            <a:srgbClr val="F26B43"/>
          </p15:clr>
        </p15:guide>
        <p15:guide id="4" orient="horz" pos="67">
          <p15:clr>
            <a:srgbClr val="F26B43"/>
          </p15:clr>
        </p15:guide>
        <p15:guide id="5" pos="13401">
          <p15:clr>
            <a:srgbClr val="F26B43"/>
          </p15:clr>
        </p15:guide>
        <p15:guide id="6" pos="252">
          <p15:clr>
            <a:srgbClr val="F26B43"/>
          </p15:clr>
        </p15:guide>
        <p15:guide id="7" orient="horz" pos="2210">
          <p15:clr>
            <a:srgbClr val="F26B43"/>
          </p15:clr>
        </p15:guide>
        <p15:guide id="8" orient="horz" pos="258">
          <p15:clr>
            <a:srgbClr val="F26B43"/>
          </p15:clr>
        </p15:guide>
        <p15:guide id="9" orient="horz" pos="20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正方形/長方形 12">
            <a:extLst>
              <a:ext uri="{FF2B5EF4-FFF2-40B4-BE49-F238E27FC236}">
                <a16:creationId xmlns:a16="http://schemas.microsoft.com/office/drawing/2014/main" id="{B9A9338E-35E7-4891-9862-F9339B101BDB}"/>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FF82DC5B-BD8E-2762-C092-CF89D2EE529C}"/>
              </a:ext>
            </a:extLst>
          </p:cNvPr>
          <p:cNvSpPr/>
          <p:nvPr userDrawn="1"/>
        </p:nvSpPr>
        <p:spPr>
          <a:xfrm>
            <a:off x="0" y="0"/>
            <a:ext cx="12192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プレースホルダー 9"/>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3" name="テキスト プレースホルダー 2"/>
          <p:cNvSpPr>
            <a:spLocks noGrp="1"/>
          </p:cNvSpPr>
          <p:nvPr>
            <p:ph type="body" idx="1"/>
          </p:nvPr>
        </p:nvSpPr>
        <p:spPr>
          <a:xfrm>
            <a:off x="432000" y="1725643"/>
            <a:ext cx="11327999"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
        <p:nvSpPr>
          <p:cNvPr id="38" name="フッター プレースホルダー 2">
            <a:extLst>
              <a:ext uri="{FF2B5EF4-FFF2-40B4-BE49-F238E27FC236}">
                <a16:creationId xmlns:a16="http://schemas.microsoft.com/office/drawing/2014/main" id="{793D33C9-6286-93AD-F690-DD106EE41887}"/>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39" name="スライド番号プレースホルダー 3">
            <a:extLst>
              <a:ext uri="{FF2B5EF4-FFF2-40B4-BE49-F238E27FC236}">
                <a16:creationId xmlns:a16="http://schemas.microsoft.com/office/drawing/2014/main" id="{1E9F7E52-3585-A248-DCF9-10FD61D02510}"/>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pic>
        <p:nvPicPr>
          <p:cNvPr id="13" name="図 12" descr="アイコン&#10;&#10;低い精度で自動的に生成された説明">
            <a:extLst>
              <a:ext uri="{FF2B5EF4-FFF2-40B4-BE49-F238E27FC236}">
                <a16:creationId xmlns:a16="http://schemas.microsoft.com/office/drawing/2014/main" id="{8379A01F-8105-4DFA-DC55-B0DA44C858B2}"/>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pic>
        <p:nvPicPr>
          <p:cNvPr id="8" name="図 7">
            <a:extLst>
              <a:ext uri="{FF2B5EF4-FFF2-40B4-BE49-F238E27FC236}">
                <a16:creationId xmlns:a16="http://schemas.microsoft.com/office/drawing/2014/main" id="{D3F37D6A-7194-4377-8FAC-899ECACC4645}"/>
              </a:ext>
            </a:extLst>
          </p:cNvPr>
          <p:cNvPicPr>
            <a:picLocks noChangeAspect="1"/>
          </p:cNvPicPr>
          <p:nvPr userDrawn="1"/>
        </p:nvPicPr>
        <p:blipFill>
          <a:blip r:embed="rId13"/>
          <a:stretch>
            <a:fillRect/>
          </a:stretch>
        </p:blipFill>
        <p:spPr>
          <a:xfrm>
            <a:off x="-1674" y="5125"/>
            <a:ext cx="910932" cy="702460"/>
          </a:xfrm>
          <a:prstGeom prst="rect">
            <a:avLst/>
          </a:prstGeom>
        </p:spPr>
      </p:pic>
    </p:spTree>
    <p:extLst>
      <p:ext uri="{BB962C8B-B14F-4D97-AF65-F5344CB8AC3E}">
        <p14:creationId xmlns:p14="http://schemas.microsoft.com/office/powerpoint/2010/main" val="3025332808"/>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Lst>
  <p:hf hd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178">
          <p15:clr>
            <a:srgbClr val="F26B43"/>
          </p15:clr>
        </p15:guide>
        <p15:guide id="4" orient="horz" pos="119">
          <p15:clr>
            <a:srgbClr val="F26B43"/>
          </p15:clr>
        </p15:guide>
        <p15:guide id="5" pos="7537">
          <p15:clr>
            <a:srgbClr val="F26B43"/>
          </p15:clr>
        </p15:guide>
        <p15:guide id="6" pos="143">
          <p15:clr>
            <a:srgbClr val="F26B43"/>
          </p15:clr>
        </p15:guide>
        <p15:guide id="7" orient="horz" pos="3929">
          <p15:clr>
            <a:srgbClr val="F26B43"/>
          </p15:clr>
        </p15:guide>
        <p15:guide id="8" orient="horz" pos="459">
          <p15:clr>
            <a:srgbClr val="F26B43"/>
          </p15:clr>
        </p15:guide>
        <p15:guide id="9" orient="horz" pos="3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SHINKOLITE™ DX &amp; L | Products | Shinkolite | Mitsubishi Chemical Corporation">
            <a:extLst>
              <a:ext uri="{FF2B5EF4-FFF2-40B4-BE49-F238E27FC236}">
                <a16:creationId xmlns:a16="http://schemas.microsoft.com/office/drawing/2014/main" id="{A5E17CAB-0321-93B5-44FB-E5FCB3E8E0CA}"/>
              </a:ext>
            </a:extLst>
          </p:cNvPr>
          <p:cNvPicPr>
            <a:picLocks noChangeAspect="1" noChangeArrowheads="1"/>
          </p:cNvPicPr>
          <p:nvPr userDrawn="1"/>
        </p:nvPicPr>
        <p:blipFill>
          <a:blip r:embed="rId20">
            <a:alphaModFix amt="2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Object 20" hidden="1"/>
          <p:cNvGraphicFramePr>
            <a:graphicFrameLocks noChangeAspect="1"/>
          </p:cNvGraphicFramePr>
          <p:nvPr>
            <p:custDataLst>
              <p:tags r:id="rId19"/>
            </p:custDataLst>
            <p:extLst>
              <p:ext uri="{D42A27DB-BD31-4B8C-83A1-F6EECF244321}">
                <p14:modId xmlns:p14="http://schemas.microsoft.com/office/powerpoint/2010/main" val="72052305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1" name="Object 20"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9" name="Title Placeholder 1"/>
          <p:cNvSpPr>
            <a:spLocks noGrp="1"/>
          </p:cNvSpPr>
          <p:nvPr>
            <p:ph type="title"/>
          </p:nvPr>
        </p:nvSpPr>
        <p:spPr>
          <a:xfrm>
            <a:off x="495300" y="598258"/>
            <a:ext cx="11201400" cy="779692"/>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6</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370250" y="209234"/>
            <a:ext cx="364549" cy="338085"/>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Retângulo 43">
            <a:extLst>
              <a:ext uri="{FF2B5EF4-FFF2-40B4-BE49-F238E27FC236}">
                <a16:creationId xmlns:a16="http://schemas.microsoft.com/office/drawing/2014/main" id="{108829A1-ED9B-EDDB-70E0-A460A45C7C1F}"/>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lumMod val="50000"/>
                  </a:schemeClr>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lumMod val="50000"/>
                </a:schemeClr>
              </a:solidFill>
              <a:latin typeface="Ubuntu" panose="020B0504030602030204" pitchFamily="34" charset="0"/>
              <a:ea typeface="+mn-ea"/>
              <a:cs typeface="+mn-cs"/>
            </a:endParaRPr>
          </a:p>
        </p:txBody>
      </p:sp>
      <p:sp>
        <p:nvSpPr>
          <p:cNvPr id="6" name="Rectangle 27">
            <a:extLst>
              <a:ext uri="{FF2B5EF4-FFF2-40B4-BE49-F238E27FC236}">
                <a16:creationId xmlns:a16="http://schemas.microsoft.com/office/drawing/2014/main" id="{4C4890B4-6240-44C1-3126-0FE70C15E52D}"/>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lumMod val="50000"/>
                  </a:schemeClr>
                </a:solidFill>
                <a:latin typeface="Ubuntu" panose="020B0504030602030204" pitchFamily="34" charset="0"/>
                <a:ea typeface="+mn-ea"/>
                <a:cs typeface="+mn-cs"/>
              </a:rPr>
              <a:t>Company Confidential © Capgemini 2023. All rights reserved  |</a:t>
            </a:r>
          </a:p>
        </p:txBody>
      </p:sp>
      <p:pic>
        <p:nvPicPr>
          <p:cNvPr id="23" name="図 12" descr="アイコン&#10;&#10;低い精度で自動的に生成された説明">
            <a:extLst>
              <a:ext uri="{FF2B5EF4-FFF2-40B4-BE49-F238E27FC236}">
                <a16:creationId xmlns:a16="http://schemas.microsoft.com/office/drawing/2014/main" id="{85AE1663-8A6F-3BB5-4191-800BF159218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Tree>
    <p:extLst>
      <p:ext uri="{BB962C8B-B14F-4D97-AF65-F5344CB8AC3E}">
        <p14:creationId xmlns:p14="http://schemas.microsoft.com/office/powerpoint/2010/main" val="64197982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8" r:id="rId11"/>
    <p:sldLayoutId id="2147483939" r:id="rId12"/>
    <p:sldLayoutId id="2147483940" r:id="rId13"/>
    <p:sldLayoutId id="2147483941" r:id="rId14"/>
    <p:sldLayoutId id="2147483942" r:id="rId15"/>
    <p:sldLayoutId id="2147483943" r:id="rId16"/>
    <p:sldLayoutId id="2147483944" r:id="rId1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
          <p15:clr>
            <a:srgbClr val="F26B43"/>
          </p15:clr>
        </p15:guide>
        <p15:guide id="2" pos="7392">
          <p15:clr>
            <a:srgbClr val="F26B43"/>
          </p15:clr>
        </p15:guide>
        <p15:guide id="3" orient="horz" pos="4104">
          <p15:clr>
            <a:srgbClr val="F26B43"/>
          </p15:clr>
        </p15:guide>
        <p15:guide id="4" pos="312">
          <p15:clr>
            <a:srgbClr val="F26B43"/>
          </p15:clr>
        </p15:guide>
        <p15:guide id="5" orient="horz" pos="912">
          <p15:clr>
            <a:srgbClr val="F26B43"/>
          </p15:clr>
        </p15:guide>
        <p15:guide id="6" orient="horz" pos="408">
          <p15:clr>
            <a:srgbClr val="F26B43"/>
          </p15:clr>
        </p15:guide>
        <p15:guide id="7" pos="3840">
          <p15:clr>
            <a:srgbClr val="F26B43"/>
          </p15:clr>
        </p15:guide>
        <p15:guide id="8" pos="3899">
          <p15:clr>
            <a:srgbClr val="F26B43"/>
          </p15:clr>
        </p15:guide>
        <p15:guide id="9" pos="3783">
          <p15:clr>
            <a:srgbClr val="F26B43"/>
          </p15:clr>
        </p15:guide>
        <p15:guide id="10" pos="73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8" Type="http://schemas.openxmlformats.org/officeDocument/2006/relationships/hyperlink" Target="https://corporatedirectory.capgemini.com/MyDirectory/forms/distributionList/entry/read.jsp?resource=distributionListAdmin&amp;view=WhitePage&amp;application=MyDirectory&amp;dn=CN%3Ddljpmcgmonegocmteam%2COU%3DDDA+-+NEA+Asia+Pacific%2COU%3DDistribution+lists%2COU%3DResources%2CDC%3Dcorp%2CDC%3Dcapgemini%2CDC%3Dcom" TargetMode="External"/><Relationship Id="rId3" Type="http://schemas.openxmlformats.org/officeDocument/2006/relationships/hyperlink" Target="https://corporatedirectory.capgemini.com/MyDirectory/forms/distributionList/entry/read.jsp?resource=distributionListAdmin&amp;view=WhitePage&amp;application=MyDirectory&amp;dn=CN%3Ddljpmcgmonegglobaldatateam%2COU%3DDDA+-+iGate%2COU%3DDistribution+lists%2COU%3DResources%2CDC%3Dcorp%2CDC%3Dcapgemini%2CDC%3Dcom" TargetMode="External"/><Relationship Id="rId7" Type="http://schemas.openxmlformats.org/officeDocument/2006/relationships/hyperlink" Target="https://corporatedirectory.capgemini.com/MyDirectory/forms/distributionList/entry/read.jsp?resource=distributionListAdmin&amp;view=WhitePage&amp;application=MyDirectory&amp;dn=CN%3Ddljpmcgmoneglobalfunctionalleadteam%2COU%3DDDA+-+NEA+Asia+Pacific%2COU%3DDistribution+lists%2COU%3DResources%2CDC%3Dcorp%2CDC%3Dcapgemini%2CDC%3Dco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corporatedirectory.capgemini.com/MyDirectory/forms/distributionList/entry/read.jsp?resource=distributionListAdmin&amp;view=WhitePage&amp;application=MyDirectory&amp;dn=CN%3Ddljpmcgmonegglobaltestingteam%2COU%3DDDA+-+iGate%2COU%3DDistribution+lists%2COU%3DResources%2CDC%3Dcorp%2CDC%3Dcapgemini%2CDC%3Dcom" TargetMode="External"/><Relationship Id="rId5" Type="http://schemas.openxmlformats.org/officeDocument/2006/relationships/hyperlink" Target="https://corporatedirectory.capgemini.com/MyDirectory/forms/distributionList/entry/read.jsp?resource=distributionListAdmin&amp;view=WhitePage&amp;application=MyDirectory&amp;dn=CN%3Ddljpmcgmonegglobalteam%2COU%3DDDA+-+NEA+Asia+Pacific%2COU%3DDistribution+lists%2COU%3DResources%2CDC%3Dcorp%2CDC%3Dcapgemini%2CDC%3Dcom" TargetMode="External"/><Relationship Id="rId10" Type="http://schemas.openxmlformats.org/officeDocument/2006/relationships/hyperlink" Target="https://corporatedirectory.capgemini.com/MyDirectory/forms/distributionList/entry/read.jsp?resource=distributionListAdmin&amp;view=WhitePage&amp;application=MyDirectory&amp;dn=CN%3Ddljpmcgmonegtechnicalglobalteam%2COU%3DDDA+-+NEA+Asia+Pacific%2COU%3DDistribution+lists%2COU%3DResources%2CDC%3Dcorp%2CDC%3Dcapgemini%2CDC%3Dcom" TargetMode="External"/><Relationship Id="rId4" Type="http://schemas.openxmlformats.org/officeDocument/2006/relationships/hyperlink" Target="https://corporatedirectory.capgemini.com/MyDirectory/forms/distributionList/entry/read.jsp?resource=distributionListAdmin&amp;view=WhitePage&amp;application=MyDirectory&amp;dn=CN%3Ddljpmcgmonegglobalfunctionalteam%2COU%3DDDA+-+NEA+Asia+Pacific%2COU%3DDistribution+lists%2COU%3DResources%2CDC%3Dcorp%2CDC%3Dcapgemini%2CDC%3Dcom" TargetMode="External"/><Relationship Id="rId9" Type="http://schemas.openxmlformats.org/officeDocument/2006/relationships/hyperlink" Target="https://corporatedirectory.capgemini.com/MyDirectory/forms/distributionList/entry/read.jsp?resource=distributionListAdmin&amp;view=WhitePage&amp;application=MyDirectory&amp;dn=CN%3Ddljpmcgmonegpmoteam%2COU%3DDDA+-+NEA+Asia+Pacific%2COU%3DDistribution+lists%2COU%3DResources%2CDC%3Dcorp%2CDC%3Dcapgemini%2CDC%3D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corporatedirectory.capgemini.com/MyDirectory/forms/distributionList/entry/read.jsp?resource=distributionListAdmin&amp;view=WhitePage&amp;application=MyDirectory&amp;dn=CN%3Ddljpmonegchinarolloutteam%2COU%3DDDA+-+iGate%2COU%3DDistribution+lists%2COU%3DResources%2CDC%3Dcorp%2CDC%3Dcapgemini%2CDC%3Dcom"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corporatedirectory.capgemini.com/MyDirectory/forms/distributionList/entry/read.jsp?resource=distributionListAdmin&amp;view=WhitePage&amp;application=MyDirectory&amp;dn=CN%3Ddljpmoneggermanyrolloutteam%2COU%3DDDA+-+NEA+Asia+Pacific%2COU%3DDistribution+lists%2COU%3DResources%2CDC%3Dcorp%2CDC%3Dcapgemini%2CDC%3Dcom" TargetMode="External"/><Relationship Id="rId5" Type="http://schemas.openxmlformats.org/officeDocument/2006/relationships/hyperlink" Target="https://corporatedirectory.capgemini.com/MyDirectory/forms/distributionList/entry/read.jsp?resource=distributionListAdmin&amp;view=WhitePage&amp;application=MyDirectory&amp;dn=CN%3Ddljpmonegusrolloutteam%2COU%3DDDA+-+NEA+Asia+Pacific%2COU%3DDistribution+lists%2COU%3DResources%2CDC%3Dcorp%2CDC%3Dcapgemini%2CDC%3Dcom" TargetMode="External"/><Relationship Id="rId4" Type="http://schemas.openxmlformats.org/officeDocument/2006/relationships/hyperlink" Target="https://corporatedirectory.capgemini.com/MyDirectory/forms/distributionList/entry/read.jsp?resource=distributionListAdmin&amp;view=WhitePage&amp;application=MyDirectory&amp;dn=CN%3Ddljpmonegukrolloutteam%2COU%3DDDA+-+NEA+Asia+Pacific%2COU%3DDistribution+lists%2COU%3DResources%2CDC%3Dcorp%2CDC%3Dcapgemini%2CDC%3Dcom" TargetMode="Externa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1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diagramColors" Target="../diagrams/colors4.xml"/><Relationship Id="rId12" Type="http://schemas.openxmlformats.org/officeDocument/2006/relationships/diagramColors" Target="../diagrams/colors5.xml"/><Relationship Id="rId17" Type="http://schemas.openxmlformats.org/officeDocument/2006/relationships/image" Target="../media/image57.png"/><Relationship Id="rId2" Type="http://schemas.openxmlformats.org/officeDocument/2006/relationships/notesSlide" Target="../notesSlides/notesSlide6.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5" Type="http://schemas.openxmlformats.org/officeDocument/2006/relationships/image" Target="../media/image55.png"/><Relationship Id="rId10" Type="http://schemas.openxmlformats.org/officeDocument/2006/relationships/diagramLayout" Target="../diagrams/layout5.xml"/><Relationship Id="rId19" Type="http://schemas.openxmlformats.org/officeDocument/2006/relationships/image" Target="../media/image59.png"/><Relationship Id="rId4" Type="http://schemas.openxmlformats.org/officeDocument/2006/relationships/diagramData" Target="../diagrams/data4.xml"/><Relationship Id="rId9" Type="http://schemas.openxmlformats.org/officeDocument/2006/relationships/diagramData" Target="../diagrams/data5.xml"/><Relationship Id="rId14" Type="http://schemas.openxmlformats.org/officeDocument/2006/relationships/image" Target="../media/image54.png"/></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6.png"/></Relationships>
</file>

<file path=ppt/slides/_rels/slide33.xml.rels><?xml version="1.0" encoding="UTF-8" standalone="yes"?>
<Relationships xmlns="http://schemas.openxmlformats.org/package/2006/relationships"><Relationship Id="rId3" Type="http://schemas.openxmlformats.org/officeDocument/2006/relationships/hyperlink" Target="https://pixabay.com/ja/%E4%BA%BA-%E3%83%A6%E3%83%BC%E3%82%B6%E3%83%BC-%E3%82%A2%E3%83%90%E3%82%BF%E3%83%BC-%E7%94%B7-%E3%82%B9%E3%83%BC%E3%83%84-%E3%83%8D%E3%82%AF%E3%82%BF%E3%82%A4-%E9%9D%92-%E5%8C%BF%E5%90%8D-%E7%94%B7%E6%80%A7-311134/" TargetMode="External"/><Relationship Id="rId7" Type="http://schemas.openxmlformats.org/officeDocument/2006/relationships/hyperlink" Target="http://gahag.net/002701-man-woman/" TargetMode="External"/><Relationship Id="rId2"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hyperlink" Target="https://pixabay.com/ja/%E4%BA%BA-%E7%94%B7%E6%80%A7-%E9%A0%AD-%E8%82%A9-%E3%82%B8%E3%83%A3%E3%82%B1%E3%83%83%E3%83%88%E3%83%8D%E3%82%AF%E3%82%BF%E3%82%A4-%E8%B5%A4-%E7%94%B7-%E3%82%A2%E3%82%A4%E3%82%B3%E3%83%B3%E3%82%92-304893/" TargetMode="Externa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hyperlink" Target="https://capgemini.sharepoint.com/:b:/r/sites/MCC-MitshubishiChemicalCorporation-07_InterimProject_/Shared%20Documents/07_MoneG%20Delivery%20Folder/03.%20Global%20Template%20Development%20Phase/4_Development/Mone-G_Development%20Strategy.pdf?csf=1&amp;web=1&amp;e=mgyVfl" TargetMode="External"/><Relationship Id="rId13" Type="http://schemas.openxmlformats.org/officeDocument/2006/relationships/hyperlink" Target="https://capgemini.sharepoint.com/:x:/r/sites/MCC-MitshubishiChemicalCorporation-07_InterimProject_/Shared%20Documents/07_MoneG%20Delivery%20Folder/02.%20Assessment%20Phase%20(Oct%20-%20Mar)/1_Functional/MoneG%20Gap%20List.xlsx?d=wf110ec120f98421e8f1d6444b082fcb7&amp;csf=1&amp;web=1&amp;e=XRLy0Q" TargetMode="External"/><Relationship Id="rId3" Type="http://schemas.openxmlformats.org/officeDocument/2006/relationships/hyperlink" Target="https://capgemini.sharepoint.com/:b:/r/sites/MCC-MitshubishiChemicalCorporation-07_InterimProject_/Shared%20Documents/07_MoneG%20Delivery%20Folder/03.%20Global%20Template%20Development%20Phase/0.%20PMO/0_SOW/20230629_Phase%201%20Global%20Template%20Build%20%20Pilot%20Template%20Build%20and%20Phase%201Global%20Template%20Build%20Final.pdf?csf=1&amp;web=1&amp;e=SgrRat" TargetMode="External"/><Relationship Id="rId7" Type="http://schemas.openxmlformats.org/officeDocument/2006/relationships/hyperlink" Target="https://capgemini.sharepoint.com/:b:/r/sites/MCC-MitshubishiChemicalCorporation-07_InterimProject_/Shared%20Documents/07_MoneG%20Delivery%20Folder/02.%20Assessment%20Phase%20(Oct%20-%20Mar)/4_Security/SAP%20Security%20Strategy%20v0.1.pdf?csf=1&amp;web=1&amp;e=nU2EMQ" TargetMode="External"/><Relationship Id="rId12" Type="http://schemas.openxmlformats.org/officeDocument/2006/relationships/hyperlink" Target="https://capgemini.sharepoint.com/:x:/r/sites/MCC-MitshubishiChemicalCorporation-07_InterimProject_/Shared%20Documents/07_MoneG%20Delivery%20Folder/02.%20Assessment%20Phase%20(Oct%20-%20Mar)/1_Functional/3_FS26_BPML%20List/MoneG_BPML.xlsx?d=w0eb7e4a0385845ebbf0d319d8f102fc5&amp;csf=1&amp;web=1&amp;e=HwpEEm&amp;xsdata=MDV8MDF8fDQ4MGIwYjMxZDI4MzQ0YjkwZmEzMDhkYjc5N2VlNDE2fDc2YTJhZTVhOWYwMDRmNmI5NWVkNWQzM2Q3N2M0ZDYxfDB8MHw2MzgyMzczNTgxMDI1NDgzODd8VW5rbm93bnxWR1ZoYlhOVFpXTjFjbWwwZVZObGNuWnBZMlY4ZXlKV0lqb2lNQzR3TGpBd01EQWlMQ0pRSWpvaVYybHVNeklpTENKQlRpSTZJazkwYUdWeUlpd2lWMVFpT2pFeGZRPT18MXxMMk5vWVhSekx6RTVPbTFsWlhScGJtZGZUMVJaTWxsWFJtdE9SMUYwV1hwa2JVNVRNREJOYW1zd1RGUnJORTFxU1hSTlIxVXhXbFJLYkUxSFJYZFpNazE0UUhSb2NtVmhaQzUyTWk5dFpYTnpZV2RsY3k4eE5qZzRNVE01TURBNU9UUXl8YjQyYWI2Yzg0MDA2NDUyZTBmYTMwOGRiNzk3ZWU0MTZ8ZjdkMDE4ZTc3NGM5NDcxMzljYzk1YmJiYjhlNzFkZTk%3D&amp;sdata=YVFKbTMrcWpqWmR4NXVsZE9HemJQT0xnZXpQOGVpNEd5UEtRRDV5QXpjcz0%3D&amp;ovuser=76a2ae5a-9f00-4f6b-95ed-5d33d77c4d61%2Csathvika.nallaballe%40capgemini.com" TargetMode="External"/><Relationship Id="rId17" Type="http://schemas.openxmlformats.org/officeDocument/2006/relationships/hyperlink" Target="https://capgemini.sharepoint.com/:f:/r/sites/MCC-MitshubishiChemicalCorporation-07_InterimProject_/Shared%20Documents/07_MoneG%20Delivery%20Folder/02.%20Assessment%20Phase%20(Oct%20-%20Mar)/1_Functional/2_FS48_Functional%20Design%20Documents?csf=1&amp;web=1&amp;e=Jz2VZu" TargetMode="External"/><Relationship Id="rId2" Type="http://schemas.openxmlformats.org/officeDocument/2006/relationships/notesSlide" Target="../notesSlides/notesSlide7.xml"/><Relationship Id="rId16" Type="http://schemas.openxmlformats.org/officeDocument/2006/relationships/hyperlink" Target="https://capgemini.sharepoint.com/:f:/r/sites/MCC-MitshubishiChemicalCorporation-07_InterimProject_/Shared%20Documents/07_MoneG%20Delivery%20Folder/03.%20Global%20Template%20Development%20Phase/1_Functional/RICEFWs?csf=1&amp;web=1&amp;e=bXzYso" TargetMode="External"/><Relationship Id="rId1" Type="http://schemas.openxmlformats.org/officeDocument/2006/relationships/slideLayout" Target="../slideLayouts/slideLayout2.xml"/><Relationship Id="rId6" Type="http://schemas.openxmlformats.org/officeDocument/2006/relationships/hyperlink" Target="https://capgemini.sharepoint.com/:b:/r/sites/MCC-MitshubishiChemicalCorporation-07_InterimProject_/Shared%20Documents/07_MoneG%20Delivery%20Folder/02.%20Assessment%20Phase%20(Oct%20-%20Mar)/5_Architecture%20-%20SAP%20Technical/Solutions/MoneG_Client%20and%20Transport%20Strategy.pdf?csf=1&amp;web=1&amp;e=VeQKOa" TargetMode="External"/><Relationship Id="rId11" Type="http://schemas.openxmlformats.org/officeDocument/2006/relationships/hyperlink" Target="https://capgemini.sharepoint.com/:x:/r/sites/MCC-MitshubishiChemicalCorporation-07_InterimProject_/Shared%20Documents/07_MoneG%20Delivery%20Folder/03.%20Global%20Template%20Development%20Phase/1_Functional/F116_Configuration%20for%20CHEMpath%20MCG%20adaptations/Mone-G%20Configuration%20documents/MoneG_Configuration%20Design%20List_1.0.xlsx?d=wb13c734c118a498099602f0afa0e92f9&amp;csf=1&amp;web=1&amp;e=iqhCoI" TargetMode="External"/><Relationship Id="rId5" Type="http://schemas.openxmlformats.org/officeDocument/2006/relationships/hyperlink" Target="https://capgemini.sharepoint.com/:b:/r/sites/MCC-MitshubishiChemicalCorporation-07_InterimProject_/Shared%20Documents/07_MoneG%20Delivery%20Folder/02.%20Assessment%20Phase%20(Oct%20-%20Mar)/6_Data/1.%20FS22_Data%20Conversion%20Migration%20strategy/MoneG_FS22_Data%20Migration%20Strategy.pdf?csf=1&amp;web=1&amp;e=sJLgAG" TargetMode="External"/><Relationship Id="rId15" Type="http://schemas.openxmlformats.org/officeDocument/2006/relationships/hyperlink" Target="https://capgemini.sharepoint.com/:x:/r/sites/MCC-MitshubishiChemicalCorporation-07_InterimProject_/Shared%20Documents/07_MoneG%20Delivery%20Folder/02.%20Assessment%20Phase%20(Oct%20-%20Mar)/1_Functional/4_FS27_RICEFW%20List/MoneG%20RICEFW%20List.xlsx?d=w0af3eca81e204766a469bd038d53665b&amp;csf=1&amp;web=1&amp;e=rZkeye&amp;xsdata=MDV8MDF8fDllMDdhZDgxMGY5NTQ1MzcwNjc5MDhkYjc5N2YwZjA2fDc2YTJhZTVhOWYwMDRmNmI5NWVkNWQzM2Q3N2M0ZDYxfDB8MHw2MzgyMzczNTg4MjI5MTc3NTN8VW5rbm93bnxWR1ZoYlhOVFpXTjFjbWwwZVZObGNuWnBZMlY4ZXlKV0lqb2lNQzR3TGpBd01EQWlMQ0pRSWpvaVYybHVNeklpTENKQlRpSTZJazkwYUdWeUlpd2lWMVFpT2pFeGZRPT18MXxMMk5vWVhSekx6RTVPbTFsWlhScGJtZGZUMVJaTWxsWFJtdE9SMUYwV1hwa2JVNVRNREJOYW1zd1RGUnJORTFxU1hSTlIxVXhXbFJLYkUxSFJYZFpNazE0UUhSb2NtVmhaQzUyTWk5dFpYTnpZV2RsY3k4eE5qZzRNVE01TURneE9EQXl8NjUyY2FlY2I0NTdlNDUxZDA2NzkwOGRiNzk3ZjBmMDZ8MzNmNjFlOGIyNTlkNDcyZjg5YTk1MzMyOWU0ZmU3ZmU%3D&amp;sdata=YTV0aEpDWVc4UkYwRCtwN1A5SzlFazJVT1ZmUnAzbTh1eEp5RGhqK3U1MD0%3D&amp;ovuser=76a2ae5a-9f00-4f6b-95ed-5d33d77c4d61%2Csathvika.nallaballe%40capgemini.com" TargetMode="External"/><Relationship Id="rId10" Type="http://schemas.openxmlformats.org/officeDocument/2006/relationships/hyperlink" Target="https://capgemini.sharepoint.com/:b:/r/sites/MCC-MitshubishiChemicalCorporation-07_InterimProject_/Shared%20Documents/07_MoneG%20Delivery%20Folder/03.%20Global%20Template%20Development%20Phase/1_Functional/MoneG_Global%20template_Configuration%20Guideline.pdf?csf=1&amp;web=1&amp;e=ZY26v1" TargetMode="External"/><Relationship Id="rId4" Type="http://schemas.openxmlformats.org/officeDocument/2006/relationships/hyperlink" Target="https://capgemini.sharepoint.com/:b:/r/sites/MCC-MitshubishiChemicalCorporation-07_InterimProject_/Shared%20Documents/07_MoneG%20Delivery%20Folder/02.%20Assessment%20Phase%20(Oct%20-%20Mar)/3_Testing/1_FS23_Testing%20Strategy/MCG%20Mone-G%20Test%20Strategy.pdf?csf=1&amp;web=1&amp;e=OThyTP" TargetMode="External"/><Relationship Id="rId9" Type="http://schemas.openxmlformats.org/officeDocument/2006/relationships/hyperlink" Target="https://capgemini.sharepoint.com/:p:/r/sites/MCC-MitshubishiChemicalCorporation-07_InterimProject_/Shared%20Documents/07_MoneG%20Delivery%20Folder/02.%20Assessment%20Phase%20(Oct%20-%20Mar)/1_Functional/5_FS28_SAP%20Organization%20Structure/MCG_Value_Stream_Organisation%20Structure.pptx?d=w447e2f85e4d84756b8970a684028ae45&amp;csf=1&amp;web=1&amp;e=imPTs4" TargetMode="External"/><Relationship Id="rId14" Type="http://schemas.openxmlformats.org/officeDocument/2006/relationships/hyperlink" Target="https://capgemini.sharepoint.com/:f:/r/sites/MCC-MitshubishiChemicalCorporation-07_InterimProject_/Shared%20Documents/07_MoneG%20Delivery%20Folder/03.%20Global%20Template%20Development%20Phase/1_Functional/Gaps?csf=1&amp;web=1&amp;e=tmDLEc"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capgemini.sharepoint.com/:p:/r/sites/MCC-MitshubishiChemicalCorporation-07_InterimProject_/Shared%20Documents/07_Interim%20Project_/02.%20Assessment%20Phase%20(Oct%20-%20Jan)/0_PMO/1_Onboarding/Other%20Important%20Documents/Japanese%20Workers%20Dispatch%20Law_20220325_CGL3.pptx?d=w18a5d2f32cea46d492c5888135843d9e&amp;csf=1&amp;web=1&amp;e=0Ackxj" TargetMode="External"/><Relationship Id="rId13" Type="http://schemas.openxmlformats.org/officeDocument/2006/relationships/hyperlink" Target="https://capgemini.sharepoint.com/:f:/r/sites/MCC-MitshubishiChemicalCorporation-07_InterimProject_/Shared%20Documents/07_Interim%20Project_/02.%20Assessment%20Phase%20(Oct%20-%20Mar)?csf=1&amp;web=1&amp;e=iyfOu2" TargetMode="External"/><Relationship Id="rId18" Type="http://schemas.openxmlformats.org/officeDocument/2006/relationships/hyperlink" Target="https://clarity.fs.capgemini.com/niku/nu#action:homeActionId" TargetMode="External"/><Relationship Id="rId3" Type="http://schemas.openxmlformats.org/officeDocument/2006/relationships/hyperlink" Target="https://capgemini.sharepoint.com/:p:/r/sites/MCC-MitshubishiChemicalCorporation-07_InterimProject_/Shared%20Documents/07_Interim%20Project_/01.%20Mobilisation%20Phase/4.%20Project%20Preparation/2.%20PMO/Asana%20Tool_Walkthrough.pptx?d=wccc3dda1e5e640f7bdbe266c05c787b1&amp;csf=1&amp;web=1&amp;e=xYnSSo" TargetMode="External"/><Relationship Id="rId7" Type="http://schemas.openxmlformats.org/officeDocument/2006/relationships/hyperlink" Target="https://capgemini.sharepoint.com/:v:/r/sites/MCC-MitshubishiChemicalCorporation-07_InterimProject_/Shared%20Documents/07_Interim%20Project_/02.%20Assessment%20Phase%20(Oct%20-%20Jan)/0_PMO/1_Onboarding/Other%20Important%20Documents/MCG%20-%20Japan%20Culture-20221108_114831-Meeting%20Recording.mp4?csf=1&amp;web=1&amp;e=zyjqwd" TargetMode="External"/><Relationship Id="rId12" Type="http://schemas.openxmlformats.org/officeDocument/2006/relationships/hyperlink" Target="https://capgemini.sharepoint.com/:b:/r/sites/MCC-MitshubishiChemicalCorporation-07_InterimProject_/Shared%20Documents/07_MoneG%20Delivery%20Folder/03.%20Global%20Template%20Development%20Phase/0.%20PMO/99_Pilot%20Phase%20preparation/0623_Mone-G%20%20Mobilization,%20Assessment%20%26%20Design%20Initial%20Proposal_vF.pdf?csf=1&amp;web=1&amp;e=G5bv5R" TargetMode="External"/><Relationship Id="rId17" Type="http://schemas.openxmlformats.org/officeDocument/2006/relationships/hyperlink" Target="https://talent.capgemini.com/in" TargetMode="External"/><Relationship Id="rId2" Type="http://schemas.openxmlformats.org/officeDocument/2006/relationships/hyperlink" Target="https://app.asana.com/-/login" TargetMode="External"/><Relationship Id="rId16" Type="http://schemas.openxmlformats.org/officeDocument/2006/relationships/hyperlink" Target="https://capgemini.sharepoint.com/:p:/r/sites/MCC-MitshubishiChemicalCorporation-07_InterimProject_/Shared%20Documents/07_Interim%20Project_/03.%20Global%20Template%20Development%20Phase/0.%20PMO/3_Resource%20Dashboard/Facebook%20-%20MCG.pptx?d=w5ec3a99fc06c4cb7871497b07618507e&amp;csf=1&amp;web=1&amp;e=G48FCr" TargetMode="External"/><Relationship Id="rId1" Type="http://schemas.openxmlformats.org/officeDocument/2006/relationships/slideLayout" Target="../slideLayouts/slideLayout2.xml"/><Relationship Id="rId6" Type="http://schemas.openxmlformats.org/officeDocument/2006/relationships/hyperlink" Target="https://capgemini.sharepoint.com/:p:/r/sites/MCC-MitshubishiChemicalCorporation-07_InterimProject_/Shared%20Documents/07_Interim%20Project_/02.%20Assessment%20Phase%20(Oct%20-%20Jan)/0_PMO/1_Onboarding/Other%20Important%20Documents/Introduction%20to%20Japanese%20Business%20Culture_CGJ_V0.1.pptx?d=we53d152f9da7474aad35000cbd708795&amp;csf=1&amp;web=1&amp;e=cHAOhU" TargetMode="External"/><Relationship Id="rId11" Type="http://schemas.openxmlformats.org/officeDocument/2006/relationships/hyperlink" Target="https://capgemini.sharepoint.com/:p:/r/sites/MCC-MitshubishiChemicalCorporation-07_InterimProject_/Shared%20Documents/07_MoneG%20Delivery%20Folder/03.%20Global%20Template%20Development%20Phase/0.%20PMO/5_Governance/MCG_Project%20Governance.pptx?d=w6dcb660d03194135a7bd40f655e84903&amp;csf=1&amp;web=1&amp;e=sI8jMF" TargetMode="External"/><Relationship Id="rId5" Type="http://schemas.openxmlformats.org/officeDocument/2006/relationships/hyperlink" Target="https://capgemini.sharepoint.com/:w:/r/sites/MCC-MitshubishiChemicalCorporation-07_InterimProject_/Shared%20Documents/07_Interim%20Project_/02.%20Assessment%20Phase%20(Oct%20-%20Jan)/0_PMO/1_Onboarding/Other%20Important%20Documents/Do%20and%20Don't%20-%20Japan.doc?d=w27749773da59431eb37db3e9f3e882f9&amp;csf=1&amp;web=1&amp;e=lONcYt" TargetMode="External"/><Relationship Id="rId15" Type="http://schemas.openxmlformats.org/officeDocument/2006/relationships/hyperlink" Target="https://capgemini.sharepoint.com/:x:/r/sites/MCC-MitshubishiChemicalCorporation-07_InterimProject_/Shared%20Documents/07_Interim%20Project_/03.%20Global%20Template%20Development%20Phase/0.%20PMO/3_Resource%20Dashboard/MCG_Availability%20Tracker.xlsx?d=wdd4b30abe025426e82fd01d227d9d052&amp;csf=1&amp;web=1&amp;e=iqKP21" TargetMode="External"/><Relationship Id="rId10" Type="http://schemas.openxmlformats.org/officeDocument/2006/relationships/hyperlink" Target="https://capgemini.sharepoint.com/:b:/r/sites/MCC-MitshubishiChemicalCorporation-07_InterimProject_/Shared%20Documents/07_MoneG%20Delivery%20Folder/02.%20Assessment%20Phase%20(Oct%20-%20Mar)/0_PMO/1_Onboarding/Other%20Important%20Documents/20220523_NDA_MCC%20PJ%20for%20global(EN).pdf?csf=1&amp;web=1&amp;e=25goOw" TargetMode="External"/><Relationship Id="rId19" Type="http://schemas.openxmlformats.org/officeDocument/2006/relationships/hyperlink" Target="https://timecard.in.capgemini.com/" TargetMode="External"/><Relationship Id="rId4" Type="http://schemas.openxmlformats.org/officeDocument/2006/relationships/hyperlink" Target="https://www.cloud-idf.com/idp/eyJ2c2lkIjoiaHR0cHM6XC9cL3d3dy5jbG91ZC1pZGYuY29tXC8xMDAyNTkifQ/SSO.saml2?SAMLRequest=fZFbj4IwEIX%2FiuEdKAVX2qgJkayyius9yIuppSiKLdLi5d8vuC%2FuyyaTSSaZOefkm64kl7zAXqWOfMGuFZOq5dct40Rlgve0o1KFxKZ5v98Nmosq0bMkNai4mFlSmOz5BSnMz8FJZGS0AHQUfkQDRCd2YifP9mk%2FRFY8sIp4uK22EKlo4D5C33tOV%2BcsnZvL5bfRBIBaa8NK%2BTKEBtBagd%2FTAhDPBmDe2avPEZl2psFwnq%2BjyW3u7dP4erB2HbGzQ7106Gzhj%2B1btFmf%2FDBecjV2E1ZrSFmxgEtFuKplAbR1YOvQXYE2rsuyDYTcWGs9LjmX%2BMWhp1Ulx4LITGJOLkxiRfHSCye4ToWLUihBRa71u802fhmUb%2Ff%2FnxMpWdlA1foN1JppkfGD4OxFkyLquB0b6SQBVHcQgrrrpFQHbWhZNHUYcGjXfPPt%2F05%2Ff9f%2FAQ%3D%3D&amp;RelayState=I0ZPC0Q7btFHaN7NIGQlUXLvQAbfZqg1_7o_3M-r4cPRDK3vXVUjDMZSntK8de" TargetMode="External"/><Relationship Id="rId9" Type="http://schemas.openxmlformats.org/officeDocument/2006/relationships/hyperlink" Target="https://capgemini.sharepoint.com/:w:/r/sites/MCC-MitshubishiChemicalCorporation-07_InterimProject_/Shared%20Documents/07_Interim%20Project_/02.%20Assessment%20Phase%20(Oct%20-%20Jan)/0_PMO/1_Onboarding/Other%20Important%20Documents/20211129_Compliance%20Checklist%20(Japan).docx?d=w4dbe1464a8af4b2a8095e72f86c1a670&amp;csf=1&amp;web=1&amp;e=m0lz0Z" TargetMode="External"/><Relationship Id="rId14" Type="http://schemas.openxmlformats.org/officeDocument/2006/relationships/hyperlink" Target="https://capgemini.sharepoint.com/:f:/r/sites/MCC-MitshubishiChemicalCorporation-07_InterimProject_/Shared%20Documents/07_Interim%20Project_/03.%20Global%20Template%20Development%20Phase?csf=1&amp;web=1&amp;e=7dEuSX"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capgemini.sumtotal.host/core/pillarRedirect?relyingParty=LM&amp;url=app/management/LMS_ActDetails.aspx?ActivityId%3D787777%26UserMode%3D0" TargetMode="External"/><Relationship Id="rId3" Type="http://schemas.openxmlformats.org/officeDocument/2006/relationships/hyperlink" Target="https://capgemini.sumtotal.host/rcore/c/pillarRedirect?relyingParty=LM&amp;url=https%3a%2f%2fCAPGEMINI.sumtotal.host%2flearning%2fapp%2fmanagement%2fLMS_TrainRequired.aspx%3fUserMode%3d0" TargetMode="External"/><Relationship Id="rId7" Type="http://schemas.openxmlformats.org/officeDocument/2006/relationships/hyperlink" Target="https://capgemini.sharepoint.com/sites/NAR_Site2/SAPMethodology/CAPtivate/default.aspx" TargetMode="External"/><Relationship Id="rId2" Type="http://schemas.openxmlformats.org/officeDocument/2006/relationships/hyperlink" Target="https://capgemini.sumtotal.host/core/pillarRedirect?relyingParty=LM&amp;url=app%2Fmanagement%2FLMS_ActDetails.aspx%3FActivityId%3D937324%26UserMode%3D0" TargetMode="External"/><Relationship Id="rId1" Type="http://schemas.openxmlformats.org/officeDocument/2006/relationships/slideLayout" Target="../slideLayouts/slideLayout2.xml"/><Relationship Id="rId6" Type="http://schemas.openxmlformats.org/officeDocument/2006/relationships/hyperlink" Target="https://km3.capgemini.com/book/1082915" TargetMode="External"/><Relationship Id="rId5" Type="http://schemas.openxmlformats.org/officeDocument/2006/relationships/hyperlink" Target="https://capgemini.sharepoint.com/:p:/r/sites/MCC-MitshubishiChemicalCorporation/Shared%20Documents/03_CHEMPath%20Workshop/MCG%20Workshops%20Preparation/1.Prepare/1.4_Business%20Process/1.0%20Workshop%20Presentation/September%202022/MCG_iCaptivate%20Methodology.pptx?d=we7148215fab7436e8a3d5619ec9d6fb8&amp;csf=1&amp;web=1&amp;e=5LxECn" TargetMode="External"/><Relationship Id="rId10" Type="http://schemas.openxmlformats.org/officeDocument/2006/relationships/hyperlink" Target="https://capgemini.sharepoint.com/sites/e_GREAT?xsdata=MDV8MDF8fGExZGYzOTRjY2E0YjQ0YTZiMzZiMDhkYjc5NjE0ZjJmfDc2YTJhZTVhOWYwMDRmNmI5NWVkNWQzM2Q3N2M0ZDYxfDB8MHw2MzgyMzcyMzEwNTAzNzE5NDd8VW5rbm93bnxWR1ZoYlhOVFpXTjFjbWwwZVZObGNuWnBZMlY4ZXlKV0lqb2lNQzR3TGpBd01EQWlMQ0pRSWpvaVYybHVNeklpTENKQlRpSTZJazkwYUdWeUlpd2lWMVFpT2pFeGZRPT18MXxMMk5vWVhSekx6RTVPalU0TTJSa01tVmpMVEpsTnpFdE5EVTNPUzA1TVdOaExUY3hOelE1WkdOaU9EaGtaRjgyWXpObU9EUmhNQzFpTW1FNExUUmxNemN0T0dVek1DMWpZekl4WkRWbU9UVTJNalZBZFc1eExtZGliQzV6Y0dGalpYTXZiV1Z6YzJGblpYTXZNVFk0T0RFeU5qTXdOREkwTkE9PXw4ZWRmZDJhOWRmZTc0NjRiNTEyMDA4ZGI3OTYxNGYyZHxkN2ExOWE0NmRjMjY0NjFhOTMxMGM1MGU5YWFmZDg1Yw%3D%3D&amp;sdata=TmQ4cWJGN1dkejROaWsvTERrcC94aU5EZ04rZnliS01BN1daZnVlSzM1dz0%3D&amp;ovuser=76a2ae5a-9f00-4f6b-95ed-5d33d77c4d61%2Csathvika.nallaballe%40capgemini.com" TargetMode="External"/><Relationship Id="rId4" Type="http://schemas.openxmlformats.org/officeDocument/2006/relationships/hyperlink" Target="https://capgemini.sharepoint.com/:p:/r/sites/MCC-MitshubishiChemicalCorporation-07_InterimProject_/Shared%20Documents/07_MoneG%20Delivery%20Folder/02.%20Assessment%20Phase%20(Oct%20-%20Mar)/0_PMO/1_Onboarding/MoneG%20-%20Capability%20and%20Knowledge%20Share.pptx?d=w9e93923377964e789a75a0cbbeb916fe&amp;csf=1&amp;web=1&amp;e=C6dhgg" TargetMode="External"/><Relationship Id="rId9" Type="http://schemas.openxmlformats.org/officeDocument/2006/relationships/hyperlink" Target="https://e-great.capgemini.com/estimates"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clarity.fs.capgemini.com/niku/nu#action:homeActionId" TargetMode="External"/><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talent.capgemini.com/in" TargetMode="External"/><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4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package" Target="../embeddings/Microsoft_Excel_Worksheet.xlsx"/><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openclipart.org/detail/16982/cross-by-jean_victor_balin" TargetMode="External"/><Relationship Id="rId2" Type="http://schemas.openxmlformats.org/officeDocument/2006/relationships/image" Target="../media/image4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4">
            <a:extLst>
              <a:ext uri="{FF2B5EF4-FFF2-40B4-BE49-F238E27FC236}">
                <a16:creationId xmlns:a16="http://schemas.microsoft.com/office/drawing/2014/main" id="{55888395-44DA-44D6-8EAB-C2E7A7FC35D7}"/>
              </a:ext>
            </a:extLst>
          </p:cNvPr>
          <p:cNvSpPr>
            <a:spLocks noGrp="1"/>
          </p:cNvSpPr>
          <p:nvPr>
            <p:ph type="title"/>
          </p:nvPr>
        </p:nvSpPr>
        <p:spPr/>
        <p:txBody>
          <a:bodyPr/>
          <a:lstStyle/>
          <a:p>
            <a:r>
              <a:rPr lang="en-US" sz="5400" dirty="0"/>
              <a:t>Mone-G</a:t>
            </a:r>
            <a:br>
              <a:rPr lang="en-US" sz="5400" dirty="0"/>
            </a:br>
            <a:r>
              <a:rPr kumimoji="0" lang="en-GB" sz="4800" b="1" i="0" u="none" strike="noStrike" kern="1200" cap="all" spc="0" normalizeH="0" baseline="0" noProof="0" dirty="0">
                <a:ln>
                  <a:noFill/>
                </a:ln>
                <a:effectLst/>
                <a:uLnTx/>
                <a:uFillTx/>
                <a:ea typeface="+mj-ea"/>
                <a:cs typeface="+mj-cs"/>
              </a:rPr>
              <a:t>Onboarding </a:t>
            </a:r>
            <a:br>
              <a:rPr lang="en-US" sz="5400" dirty="0"/>
            </a:br>
            <a:r>
              <a:rPr lang="en-US" sz="2000" dirty="0"/>
              <a:t>Phase 01: Pilot</a:t>
            </a:r>
            <a:endParaRPr lang="en-AU" sz="5400" dirty="0">
              <a:solidFill>
                <a:schemeClr val="accent1"/>
              </a:solidFill>
            </a:endParaRPr>
          </a:p>
        </p:txBody>
      </p:sp>
      <p:sp>
        <p:nvSpPr>
          <p:cNvPr id="4" name="スライド番号プレースホルダー 3">
            <a:extLst>
              <a:ext uri="{FF2B5EF4-FFF2-40B4-BE49-F238E27FC236}">
                <a16:creationId xmlns:a16="http://schemas.microsoft.com/office/drawing/2014/main" id="{18C571B9-A27E-4E70-AFBF-07F6E1DADBA5}"/>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1</a:t>
            </a:fld>
            <a:endParaRPr lang="ja-JP" altLang="en-US"/>
          </a:p>
        </p:txBody>
      </p:sp>
      <p:sp>
        <p:nvSpPr>
          <p:cNvPr id="5" name="フッター プレースホルダー 2">
            <a:extLst>
              <a:ext uri="{FF2B5EF4-FFF2-40B4-BE49-F238E27FC236}">
                <a16:creationId xmlns:a16="http://schemas.microsoft.com/office/drawing/2014/main" id="{EFDCEE51-FC54-45B2-B98C-44D513263F11}"/>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3002500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Project Timeline</a:t>
            </a:r>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fld id="{48394356-8693-4048-8EAF-2BF05B04AA80}" type="slidenum">
              <a:rPr lang="ja-JP" altLang="en-US" smtClean="0"/>
              <a:pPr/>
              <a:t>10</a:t>
            </a:fld>
            <a:endParaRPr lang="ja-JP" altLang="en-US"/>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r>
              <a:rPr lang="en-US" altLang="ja-JP"/>
              <a:t>Mitsubishi Chemical Group</a:t>
            </a:r>
            <a:endParaRPr lang="ja-JP" altLang="en-US"/>
          </a:p>
        </p:txBody>
      </p:sp>
    </p:spTree>
    <p:extLst>
      <p:ext uri="{BB962C8B-B14F-4D97-AF65-F5344CB8AC3E}">
        <p14:creationId xmlns:p14="http://schemas.microsoft.com/office/powerpoint/2010/main" val="4154937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AEAD2EB-41C5-DECC-ADFB-B9D327A5B90C}"/>
              </a:ext>
            </a:extLst>
          </p:cNvPr>
          <p:cNvSpPr>
            <a:spLocks noGrp="1"/>
          </p:cNvSpPr>
          <p:nvPr>
            <p:ph type="title"/>
          </p:nvPr>
        </p:nvSpPr>
        <p:spPr/>
        <p:txBody>
          <a:bodyPr/>
          <a:lstStyle/>
          <a:p>
            <a:r>
              <a:rPr lang="en-US" altLang="ja-JP" dirty="0"/>
              <a:t>Schedule</a:t>
            </a:r>
            <a:endParaRPr kumimoji="1" lang="ja-JP" altLang="en-US" dirty="0"/>
          </a:p>
        </p:txBody>
      </p:sp>
      <p:sp>
        <p:nvSpPr>
          <p:cNvPr id="2" name="スライド番号プレースホルダー 1">
            <a:extLst>
              <a:ext uri="{FF2B5EF4-FFF2-40B4-BE49-F238E27FC236}">
                <a16:creationId xmlns:a16="http://schemas.microsoft.com/office/drawing/2014/main" id="{D4A67BB6-EC9D-61D2-83B6-62F67415BF8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3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1" lang="ja-JP" altLang="en-US" sz="113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3" name="フッター プレースホルダー 2">
            <a:extLst>
              <a:ext uri="{FF2B5EF4-FFF2-40B4-BE49-F238E27FC236}">
                <a16:creationId xmlns:a16="http://schemas.microsoft.com/office/drawing/2014/main" id="{5ED72288-2888-0EBB-C664-ADF44E9A07C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7" name="テキスト プレースホルダー 3">
            <a:extLst>
              <a:ext uri="{FF2B5EF4-FFF2-40B4-BE49-F238E27FC236}">
                <a16:creationId xmlns:a16="http://schemas.microsoft.com/office/drawing/2014/main" id="{8989B0D0-C845-6877-3535-81CB8A3FE0D1}"/>
              </a:ext>
            </a:extLst>
          </p:cNvPr>
          <p:cNvSpPr txBox="1">
            <a:spLocks/>
          </p:cNvSpPr>
          <p:nvPr/>
        </p:nvSpPr>
        <p:spPr>
          <a:xfrm>
            <a:off x="396918" y="888716"/>
            <a:ext cx="11337882" cy="1244884"/>
          </a:xfrm>
          <a:prstGeom prst="rect">
            <a:avLst/>
          </a:prstGeom>
        </p:spPr>
        <p:txBody>
          <a:bodyPr>
            <a:normAutofit/>
          </a:bodyPr>
          <a:lstStyle>
            <a:lvl1pPr marL="0" indent="0" algn="l" defTabSz="914400" rtl="0" eaLnBrk="1" latinLnBrk="0" hangingPunct="1">
              <a:lnSpc>
                <a:spcPct val="100000"/>
              </a:lnSpc>
              <a:spcBef>
                <a:spcPts val="1000"/>
              </a:spcBef>
              <a:buFont typeface="Arial" panose="020B0604020202020204" pitchFamily="34" charset="0"/>
              <a:buNone/>
              <a:defRPr kumimoji="1" sz="2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22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8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0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Phase 1 is from April 2023 to </a:t>
            </a:r>
            <a:r>
              <a:rPr lang="en-US" altLang="ja-JP" sz="1600" dirty="0">
                <a:solidFill>
                  <a:srgbClr val="000000"/>
                </a:solidFill>
                <a:latin typeface="Arial"/>
                <a:ea typeface="游ゴシック Medium"/>
              </a:rPr>
              <a:t>April</a:t>
            </a: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 2024, goals of which are template development, pilot deployment, and entire project planning to get approval of phase 2.</a:t>
            </a:r>
          </a:p>
          <a:p>
            <a:pPr marL="285750" marR="0" lvl="0" indent="-28575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Phase 2 is deployment outside of Japan for 3 years covering over 120 entities. Planning of Japan adaption will also be started.</a:t>
            </a:r>
          </a:p>
        </p:txBody>
      </p:sp>
      <p:grpSp>
        <p:nvGrpSpPr>
          <p:cNvPr id="10" name="グループ化 9">
            <a:extLst>
              <a:ext uri="{FF2B5EF4-FFF2-40B4-BE49-F238E27FC236}">
                <a16:creationId xmlns:a16="http://schemas.microsoft.com/office/drawing/2014/main" id="{7294E5DC-2BD7-417F-9A5D-3A00B86CBB68}"/>
              </a:ext>
            </a:extLst>
          </p:cNvPr>
          <p:cNvGrpSpPr/>
          <p:nvPr/>
        </p:nvGrpSpPr>
        <p:grpSpPr>
          <a:xfrm>
            <a:off x="530945" y="2772744"/>
            <a:ext cx="11308462" cy="445225"/>
            <a:chOff x="147664" y="2028040"/>
            <a:chExt cx="10183527" cy="483294"/>
          </a:xfrm>
        </p:grpSpPr>
        <p:sp>
          <p:nvSpPr>
            <p:cNvPr id="8" name="矢印: 五方向 7">
              <a:extLst>
                <a:ext uri="{FF2B5EF4-FFF2-40B4-BE49-F238E27FC236}">
                  <a16:creationId xmlns:a16="http://schemas.microsoft.com/office/drawing/2014/main" id="{01ADA19B-4A7A-4508-AC53-6F285DC92F88}"/>
                </a:ext>
              </a:extLst>
            </p:cNvPr>
            <p:cNvSpPr/>
            <p:nvPr/>
          </p:nvSpPr>
          <p:spPr>
            <a:xfrm>
              <a:off x="147664" y="2039572"/>
              <a:ext cx="2068274" cy="471762"/>
            </a:xfrm>
            <a:prstGeom prst="homePlate">
              <a:avLst/>
            </a:prstGeom>
            <a:ln/>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FY2022</a:t>
              </a:r>
              <a:r>
                <a:rPr kumimoji="1" lang="en-US" altLang="ja-JP" sz="1800" b="0" i="0" u="none" strike="noStrike" kern="1200" cap="none" spc="0" normalizeH="0" baseline="0" noProof="0" dirty="0">
                  <a:ln>
                    <a:noFill/>
                  </a:ln>
                  <a:solidFill>
                    <a:srgbClr val="000000"/>
                  </a:solidFill>
                  <a:effectLst/>
                  <a:uLnTx/>
                  <a:uFillTx/>
                  <a:latin typeface="Arial"/>
                  <a:ea typeface="游ゴシック Medium"/>
                  <a:cs typeface="+mn-cs"/>
                </a:rPr>
                <a:t> </a:t>
              </a:r>
              <a:endParaRPr kumimoji="1" lang="ja-JP" altLang="en-US" sz="18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9" name="矢印: 山形 8">
              <a:extLst>
                <a:ext uri="{FF2B5EF4-FFF2-40B4-BE49-F238E27FC236}">
                  <a16:creationId xmlns:a16="http://schemas.microsoft.com/office/drawing/2014/main" id="{BA43104D-AE1F-4BAC-A70E-64A60A8C0040}"/>
                </a:ext>
              </a:extLst>
            </p:cNvPr>
            <p:cNvSpPr/>
            <p:nvPr/>
          </p:nvSpPr>
          <p:spPr>
            <a:xfrm>
              <a:off x="2064349" y="2028040"/>
              <a:ext cx="2018539" cy="471762"/>
            </a:xfrm>
            <a:prstGeom prst="chevron">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游ゴシック Medium"/>
                  <a:cs typeface="+mn-cs"/>
                </a:rPr>
                <a:t>FY2023</a:t>
              </a:r>
            </a:p>
          </p:txBody>
        </p:sp>
        <p:sp>
          <p:nvSpPr>
            <p:cNvPr id="37" name="矢印: 山形 36">
              <a:extLst>
                <a:ext uri="{FF2B5EF4-FFF2-40B4-BE49-F238E27FC236}">
                  <a16:creationId xmlns:a16="http://schemas.microsoft.com/office/drawing/2014/main" id="{33692C24-7E9F-4654-9FDB-A76DB3B1A2E1}"/>
                </a:ext>
              </a:extLst>
            </p:cNvPr>
            <p:cNvSpPr/>
            <p:nvPr/>
          </p:nvSpPr>
          <p:spPr>
            <a:xfrm>
              <a:off x="3932881" y="2039572"/>
              <a:ext cx="1722435" cy="471762"/>
            </a:xfrm>
            <a:prstGeom prst="chevron">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游ゴシック Medium"/>
                  <a:cs typeface="+mn-cs"/>
                </a:rPr>
                <a:t>FY2024</a:t>
              </a:r>
            </a:p>
          </p:txBody>
        </p:sp>
        <p:sp>
          <p:nvSpPr>
            <p:cNvPr id="39" name="矢印: 山形 38">
              <a:extLst>
                <a:ext uri="{FF2B5EF4-FFF2-40B4-BE49-F238E27FC236}">
                  <a16:creationId xmlns:a16="http://schemas.microsoft.com/office/drawing/2014/main" id="{1DA1D9C2-CA81-4D48-A39D-7E43B33C47A6}"/>
                </a:ext>
              </a:extLst>
            </p:cNvPr>
            <p:cNvSpPr/>
            <p:nvPr/>
          </p:nvSpPr>
          <p:spPr>
            <a:xfrm>
              <a:off x="5510006" y="2039572"/>
              <a:ext cx="1722435" cy="471762"/>
            </a:xfrm>
            <a:prstGeom prst="chevron">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游ゴシック Medium"/>
                  <a:cs typeface="+mn-cs"/>
                </a:rPr>
                <a:t>FY2025</a:t>
              </a:r>
            </a:p>
          </p:txBody>
        </p:sp>
        <p:sp>
          <p:nvSpPr>
            <p:cNvPr id="40" name="矢印: 山形 39">
              <a:extLst>
                <a:ext uri="{FF2B5EF4-FFF2-40B4-BE49-F238E27FC236}">
                  <a16:creationId xmlns:a16="http://schemas.microsoft.com/office/drawing/2014/main" id="{E6B06E72-2EBB-435B-8A9C-CCA77CF50861}"/>
                </a:ext>
              </a:extLst>
            </p:cNvPr>
            <p:cNvSpPr/>
            <p:nvPr/>
          </p:nvSpPr>
          <p:spPr>
            <a:xfrm>
              <a:off x="7087133" y="2039572"/>
              <a:ext cx="1722435" cy="471762"/>
            </a:xfrm>
            <a:prstGeom prst="chevron">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游ゴシック Medium"/>
                  <a:cs typeface="+mn-cs"/>
                </a:rPr>
                <a:t>FY2026</a:t>
              </a:r>
            </a:p>
          </p:txBody>
        </p:sp>
        <p:sp>
          <p:nvSpPr>
            <p:cNvPr id="44" name="矢印: 山形 43">
              <a:extLst>
                <a:ext uri="{FF2B5EF4-FFF2-40B4-BE49-F238E27FC236}">
                  <a16:creationId xmlns:a16="http://schemas.microsoft.com/office/drawing/2014/main" id="{591F4EEC-C45E-4DAE-90B2-E4FA52668EE4}"/>
                </a:ext>
              </a:extLst>
            </p:cNvPr>
            <p:cNvSpPr/>
            <p:nvPr/>
          </p:nvSpPr>
          <p:spPr>
            <a:xfrm>
              <a:off x="8690041" y="2039572"/>
              <a:ext cx="1641150" cy="471762"/>
            </a:xfrm>
            <a:prstGeom prst="chevron">
              <a:avLst/>
            </a:prstGeom>
            <a:solidFill>
              <a:schemeClr val="bg1">
                <a:lumMod val="95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lumMod val="50000"/>
                    </a:srgbClr>
                  </a:solidFill>
                  <a:effectLst/>
                  <a:uLnTx/>
                  <a:uFillTx/>
                  <a:latin typeface="Arial"/>
                  <a:ea typeface="游ゴシック Medium"/>
                  <a:cs typeface="+mn-cs"/>
                </a:rPr>
                <a:t>FY2027</a:t>
              </a:r>
            </a:p>
          </p:txBody>
        </p:sp>
      </p:grpSp>
      <p:sp>
        <p:nvSpPr>
          <p:cNvPr id="11" name="テキスト ボックス 10">
            <a:extLst>
              <a:ext uri="{FF2B5EF4-FFF2-40B4-BE49-F238E27FC236}">
                <a16:creationId xmlns:a16="http://schemas.microsoft.com/office/drawing/2014/main" id="{07114BA3-776C-4264-B666-9025654C21C2}"/>
              </a:ext>
            </a:extLst>
          </p:cNvPr>
          <p:cNvSpPr txBox="1"/>
          <p:nvPr/>
        </p:nvSpPr>
        <p:spPr>
          <a:xfrm>
            <a:off x="702589" y="3407918"/>
            <a:ext cx="2137309" cy="1741680"/>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t>Phase 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BPC assignment</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Template assessment</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Planning</a:t>
            </a:r>
            <a:b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br>
            <a:endParaRPr kumimoji="1" lang="ja-JP" altLang="en-US" sz="200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52" name="テキスト ボックス 51">
            <a:extLst>
              <a:ext uri="{FF2B5EF4-FFF2-40B4-BE49-F238E27FC236}">
                <a16:creationId xmlns:a16="http://schemas.microsoft.com/office/drawing/2014/main" id="{8746B68A-3811-4D98-BC09-0B36807C4CF8}"/>
              </a:ext>
            </a:extLst>
          </p:cNvPr>
          <p:cNvSpPr txBox="1"/>
          <p:nvPr/>
        </p:nvSpPr>
        <p:spPr>
          <a:xfrm>
            <a:off x="2766971" y="3407918"/>
            <a:ext cx="2149757" cy="1656359"/>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t>Phase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Template</a:t>
            </a:r>
            <a:r>
              <a:rPr kumimoji="1" lang="ja-JP" altLang="en-US" sz="14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development</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Pilot deployment</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Entire planning</a:t>
            </a:r>
            <a:b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br>
            <a:endParaRPr kumimoji="1" lang="ja-JP" altLang="en-US" sz="200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54" name="テキスト ボックス 53">
            <a:extLst>
              <a:ext uri="{FF2B5EF4-FFF2-40B4-BE49-F238E27FC236}">
                <a16:creationId xmlns:a16="http://schemas.microsoft.com/office/drawing/2014/main" id="{ADAB7CF4-4438-4FF7-9299-CAB471BE6517}"/>
              </a:ext>
            </a:extLst>
          </p:cNvPr>
          <p:cNvSpPr txBox="1"/>
          <p:nvPr/>
        </p:nvSpPr>
        <p:spPr>
          <a:xfrm>
            <a:off x="10274602" y="3407917"/>
            <a:ext cx="1753273" cy="1980831"/>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0000">
                    <a:lumMod val="65000"/>
                    <a:lumOff val="35000"/>
                  </a:srgbClr>
                </a:solidFill>
                <a:effectLst/>
                <a:uLnTx/>
                <a:uFillTx/>
                <a:latin typeface="Arial"/>
                <a:ea typeface="游ゴシック Medium"/>
                <a:cs typeface="+mn-cs"/>
              </a:rPr>
              <a:t>Post Mone-G</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0000">
                    <a:lumMod val="65000"/>
                    <a:lumOff val="35000"/>
                  </a:srgbClr>
                </a:solidFill>
                <a:effectLst/>
                <a:uLnTx/>
                <a:uFillTx/>
                <a:latin typeface="Arial"/>
                <a:ea typeface="游ゴシック Medium"/>
                <a:cs typeface="+mn-cs"/>
              </a:rPr>
              <a:t>Deployment to Jap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lumMod val="65000"/>
                  <a:lumOff val="35000"/>
                </a:srgbClr>
              </a:solidFill>
              <a:effectLst/>
              <a:uLnTx/>
              <a:uFillTx/>
              <a:latin typeface="Arial"/>
              <a:ea typeface="游ゴシック Medium"/>
              <a:cs typeface="+mn-cs"/>
            </a:endParaRPr>
          </a:p>
        </p:txBody>
      </p:sp>
      <p:sp>
        <p:nvSpPr>
          <p:cNvPr id="58" name="テキスト ボックス 57">
            <a:extLst>
              <a:ext uri="{FF2B5EF4-FFF2-40B4-BE49-F238E27FC236}">
                <a16:creationId xmlns:a16="http://schemas.microsoft.com/office/drawing/2014/main" id="{AE16CB62-621A-44CC-B8D4-F21E541365DC}"/>
              </a:ext>
            </a:extLst>
          </p:cNvPr>
          <p:cNvSpPr txBox="1"/>
          <p:nvPr/>
        </p:nvSpPr>
        <p:spPr>
          <a:xfrm>
            <a:off x="4877362" y="3407918"/>
            <a:ext cx="4651720" cy="1227587"/>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t>Phase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Deployment outside Japan</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Planning of Japan adaption</a:t>
            </a:r>
            <a:br>
              <a:rPr kumimoji="1" lang="en-US" altLang="ja-JP" sz="2000" b="0" i="0" u="none" strike="noStrike" kern="1200" cap="none" spc="0" normalizeH="0" baseline="0" noProof="0" dirty="0">
                <a:ln>
                  <a:noFill/>
                </a:ln>
                <a:solidFill>
                  <a:srgbClr val="000000"/>
                </a:solidFill>
                <a:effectLst/>
                <a:uLnTx/>
                <a:uFillTx/>
                <a:latin typeface="Arial"/>
                <a:ea typeface="游ゴシック Medium"/>
                <a:cs typeface="+mn-cs"/>
              </a:rPr>
            </a:br>
            <a:endParaRPr kumimoji="1" lang="ja-JP" altLang="en-US" sz="2000" b="0" i="0" u="none" strike="noStrike" kern="1200" cap="none" spc="0" normalizeH="0" baseline="0" noProof="0" dirty="0" err="1">
              <a:ln>
                <a:noFill/>
              </a:ln>
              <a:solidFill>
                <a:srgbClr val="000000"/>
              </a:solidFill>
              <a:effectLst/>
              <a:uLnTx/>
              <a:uFillTx/>
              <a:latin typeface="Arial"/>
              <a:ea typeface="游ゴシック Medium"/>
              <a:cs typeface="+mn-cs"/>
            </a:endParaRPr>
          </a:p>
        </p:txBody>
      </p:sp>
      <p:cxnSp>
        <p:nvCxnSpPr>
          <p:cNvPr id="76" name="Straight Connector 54">
            <a:extLst>
              <a:ext uri="{FF2B5EF4-FFF2-40B4-BE49-F238E27FC236}">
                <a16:creationId xmlns:a16="http://schemas.microsoft.com/office/drawing/2014/main" id="{8B323E46-7BF5-43B7-87AA-9FF8D775EF27}"/>
              </a:ext>
            </a:extLst>
          </p:cNvPr>
          <p:cNvCxnSpPr>
            <a:cxnSpLocks/>
          </p:cNvCxnSpPr>
          <p:nvPr/>
        </p:nvCxnSpPr>
        <p:spPr>
          <a:xfrm>
            <a:off x="2667191" y="3407915"/>
            <a:ext cx="0" cy="2520000"/>
          </a:xfrm>
          <a:prstGeom prst="line">
            <a:avLst/>
          </a:prstGeom>
          <a:noFill/>
          <a:ln w="57150" cap="flat" cmpd="sng" algn="ctr">
            <a:solidFill>
              <a:srgbClr val="CCCCCC"/>
            </a:solidFill>
            <a:prstDash val="solid"/>
            <a:headEnd type="none" w="med" len="med"/>
            <a:tailEnd type="none" w="med" len="med"/>
          </a:ln>
          <a:effectLst/>
        </p:spPr>
      </p:cxnSp>
      <p:cxnSp>
        <p:nvCxnSpPr>
          <p:cNvPr id="26" name="Straight Connector 54">
            <a:extLst>
              <a:ext uri="{FF2B5EF4-FFF2-40B4-BE49-F238E27FC236}">
                <a16:creationId xmlns:a16="http://schemas.microsoft.com/office/drawing/2014/main" id="{153A9EEB-09FE-4B10-B93C-CB472D600D69}"/>
              </a:ext>
            </a:extLst>
          </p:cNvPr>
          <p:cNvCxnSpPr>
            <a:cxnSpLocks/>
          </p:cNvCxnSpPr>
          <p:nvPr/>
        </p:nvCxnSpPr>
        <p:spPr>
          <a:xfrm>
            <a:off x="4738365" y="3407915"/>
            <a:ext cx="0" cy="2520000"/>
          </a:xfrm>
          <a:prstGeom prst="line">
            <a:avLst/>
          </a:prstGeom>
          <a:noFill/>
          <a:ln w="57150" cap="flat" cmpd="sng" algn="ctr">
            <a:solidFill>
              <a:srgbClr val="CCCCCC"/>
            </a:solidFill>
            <a:prstDash val="solid"/>
            <a:headEnd type="none" w="med" len="med"/>
            <a:tailEnd type="none" w="med" len="med"/>
          </a:ln>
          <a:effectLst/>
        </p:spPr>
      </p:cxnSp>
      <p:cxnSp>
        <p:nvCxnSpPr>
          <p:cNvPr id="27" name="Straight Connector 54">
            <a:extLst>
              <a:ext uri="{FF2B5EF4-FFF2-40B4-BE49-F238E27FC236}">
                <a16:creationId xmlns:a16="http://schemas.microsoft.com/office/drawing/2014/main" id="{D3F89D2B-427E-40BF-B307-047A30D1A08F}"/>
              </a:ext>
            </a:extLst>
          </p:cNvPr>
          <p:cNvCxnSpPr>
            <a:cxnSpLocks/>
          </p:cNvCxnSpPr>
          <p:nvPr/>
        </p:nvCxnSpPr>
        <p:spPr>
          <a:xfrm>
            <a:off x="590357" y="3407915"/>
            <a:ext cx="0" cy="2520000"/>
          </a:xfrm>
          <a:prstGeom prst="line">
            <a:avLst/>
          </a:prstGeom>
          <a:noFill/>
          <a:ln w="57150" cap="flat" cmpd="sng" algn="ctr">
            <a:solidFill>
              <a:srgbClr val="CCCCCC"/>
            </a:solidFill>
            <a:prstDash val="solid"/>
            <a:headEnd type="none" w="med" len="med"/>
            <a:tailEnd type="none" w="med" len="med"/>
          </a:ln>
          <a:effectLst/>
        </p:spPr>
      </p:cxnSp>
      <p:cxnSp>
        <p:nvCxnSpPr>
          <p:cNvPr id="28" name="Straight Connector 54">
            <a:extLst>
              <a:ext uri="{FF2B5EF4-FFF2-40B4-BE49-F238E27FC236}">
                <a16:creationId xmlns:a16="http://schemas.microsoft.com/office/drawing/2014/main" id="{8FF5DD3D-F4AD-47CF-BC32-748C364D9927}"/>
              </a:ext>
            </a:extLst>
          </p:cNvPr>
          <p:cNvCxnSpPr>
            <a:cxnSpLocks/>
          </p:cNvCxnSpPr>
          <p:nvPr/>
        </p:nvCxnSpPr>
        <p:spPr>
          <a:xfrm>
            <a:off x="10070731" y="3407915"/>
            <a:ext cx="0" cy="2520000"/>
          </a:xfrm>
          <a:prstGeom prst="line">
            <a:avLst/>
          </a:prstGeom>
          <a:noFill/>
          <a:ln w="57150" cap="flat" cmpd="sng" algn="ctr">
            <a:solidFill>
              <a:srgbClr val="CCCCCC"/>
            </a:solidFill>
            <a:prstDash val="solid"/>
            <a:headEnd type="none" w="med" len="med"/>
            <a:tailEnd type="none" w="med" len="med"/>
          </a:ln>
          <a:effectLst/>
        </p:spPr>
      </p:cxnSp>
      <p:sp>
        <p:nvSpPr>
          <p:cNvPr id="25" name="吹き出し: 角を丸めた四角形 24">
            <a:extLst>
              <a:ext uri="{FF2B5EF4-FFF2-40B4-BE49-F238E27FC236}">
                <a16:creationId xmlns:a16="http://schemas.microsoft.com/office/drawing/2014/main" id="{B95AF10F-7003-462C-B522-36D91842AD36}"/>
              </a:ext>
            </a:extLst>
          </p:cNvPr>
          <p:cNvSpPr/>
          <p:nvPr/>
        </p:nvSpPr>
        <p:spPr>
          <a:xfrm>
            <a:off x="1063147" y="2083282"/>
            <a:ext cx="1624563" cy="531113"/>
          </a:xfrm>
          <a:prstGeom prst="wedgeRoundRectCallout">
            <a:avLst>
              <a:gd name="adj1" fmla="val 38969"/>
              <a:gd name="adj2" fmla="val 74768"/>
              <a:gd name="adj3" fmla="val 16667"/>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3F7E"/>
                </a:solidFill>
                <a:effectLst/>
                <a:uLnTx/>
                <a:uFillTx/>
                <a:latin typeface="Arial"/>
                <a:ea typeface="游ゴシック Medium"/>
                <a:cs typeface="+mn-cs"/>
              </a:rPr>
              <a:t>Approval of Phase 1</a:t>
            </a:r>
            <a:endParaRPr kumimoji="1" lang="ja-JP" altLang="en-US" sz="1200" b="0" i="0" u="none" strike="noStrike" kern="1200" cap="none" spc="0" normalizeH="0" baseline="0" noProof="0" dirty="0">
              <a:ln>
                <a:noFill/>
              </a:ln>
              <a:solidFill>
                <a:srgbClr val="003F7E"/>
              </a:solidFill>
              <a:effectLst/>
              <a:uLnTx/>
              <a:uFillTx/>
              <a:latin typeface="Arial"/>
              <a:ea typeface="游ゴシック Medium"/>
              <a:cs typeface="+mn-cs"/>
            </a:endParaRPr>
          </a:p>
        </p:txBody>
      </p:sp>
      <p:sp>
        <p:nvSpPr>
          <p:cNvPr id="38" name="吹き出し: 角を丸めた四角形 37">
            <a:extLst>
              <a:ext uri="{FF2B5EF4-FFF2-40B4-BE49-F238E27FC236}">
                <a16:creationId xmlns:a16="http://schemas.microsoft.com/office/drawing/2014/main" id="{02DEBDE3-ED94-4920-8060-AF76323EE830}"/>
              </a:ext>
            </a:extLst>
          </p:cNvPr>
          <p:cNvSpPr/>
          <p:nvPr/>
        </p:nvSpPr>
        <p:spPr>
          <a:xfrm>
            <a:off x="3195475" y="2079633"/>
            <a:ext cx="1624563" cy="531113"/>
          </a:xfrm>
          <a:prstGeom prst="wedgeRoundRectCallout">
            <a:avLst>
              <a:gd name="adj1" fmla="val 38969"/>
              <a:gd name="adj2" fmla="val 74768"/>
              <a:gd name="adj3" fmla="val 16667"/>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3F7E"/>
                </a:solidFill>
                <a:effectLst/>
                <a:uLnTx/>
                <a:uFillTx/>
                <a:latin typeface="Arial"/>
                <a:ea typeface="游ゴシック Medium"/>
                <a:cs typeface="+mn-cs"/>
              </a:rPr>
              <a:t>Approval of the entire project</a:t>
            </a:r>
            <a:endParaRPr kumimoji="1" lang="ja-JP" altLang="en-US" sz="1200" b="0" i="0" u="none" strike="noStrike" kern="1200" cap="none" spc="0" normalizeH="0" baseline="0" noProof="0" dirty="0">
              <a:ln>
                <a:noFill/>
              </a:ln>
              <a:solidFill>
                <a:srgbClr val="003F7E"/>
              </a:solidFill>
              <a:effectLst/>
              <a:uLnTx/>
              <a:uFillTx/>
              <a:latin typeface="Arial"/>
              <a:ea typeface="游ゴシック Medium"/>
              <a:cs typeface="+mn-cs"/>
            </a:endParaRPr>
          </a:p>
        </p:txBody>
      </p:sp>
      <p:sp>
        <p:nvSpPr>
          <p:cNvPr id="78" name="四角形: 角を丸くする 77">
            <a:extLst>
              <a:ext uri="{FF2B5EF4-FFF2-40B4-BE49-F238E27FC236}">
                <a16:creationId xmlns:a16="http://schemas.microsoft.com/office/drawing/2014/main" id="{66A5AAD5-8329-4D3F-B80C-98DDA5FB98BF}"/>
              </a:ext>
            </a:extLst>
          </p:cNvPr>
          <p:cNvSpPr/>
          <p:nvPr/>
        </p:nvSpPr>
        <p:spPr>
          <a:xfrm>
            <a:off x="3002299" y="4948939"/>
            <a:ext cx="1368000" cy="1036749"/>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FFFFFF"/>
                </a:solidFill>
                <a:effectLst/>
                <a:uLnTx/>
                <a:uFillTx/>
                <a:latin typeface="Arial"/>
                <a:ea typeface="游ゴシック Medium"/>
                <a:cs typeface="+mn-cs"/>
              </a:rPr>
              <a:t>4</a:t>
            </a: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 entities standardized</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79" name="四角形: 角を丸くする 78">
            <a:extLst>
              <a:ext uri="{FF2B5EF4-FFF2-40B4-BE49-F238E27FC236}">
                <a16:creationId xmlns:a16="http://schemas.microsoft.com/office/drawing/2014/main" id="{EB75E026-C3C3-47A2-AB2A-44E9ED5F6130}"/>
              </a:ext>
            </a:extLst>
          </p:cNvPr>
          <p:cNvSpPr/>
          <p:nvPr/>
        </p:nvSpPr>
        <p:spPr>
          <a:xfrm>
            <a:off x="4928117" y="4948939"/>
            <a:ext cx="1368000" cy="1036749"/>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FFFFFF"/>
                </a:solidFill>
                <a:effectLst/>
                <a:uLnTx/>
                <a:uFillTx/>
                <a:latin typeface="Arial"/>
                <a:ea typeface="游ゴシック Medium"/>
                <a:cs typeface="+mn-cs"/>
              </a:rPr>
              <a:t>35</a:t>
            </a: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 entities standardized</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80" name="四角形: 角を丸くする 79">
            <a:extLst>
              <a:ext uri="{FF2B5EF4-FFF2-40B4-BE49-F238E27FC236}">
                <a16:creationId xmlns:a16="http://schemas.microsoft.com/office/drawing/2014/main" id="{36D22839-C0C9-443D-B8BF-308A6220C7EA}"/>
              </a:ext>
            </a:extLst>
          </p:cNvPr>
          <p:cNvSpPr/>
          <p:nvPr/>
        </p:nvSpPr>
        <p:spPr>
          <a:xfrm>
            <a:off x="6667919" y="4948939"/>
            <a:ext cx="1368000" cy="1036749"/>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FFFFFF">
                    <a:lumMod val="95000"/>
                  </a:srgbClr>
                </a:solidFill>
                <a:effectLst/>
                <a:uLnTx/>
                <a:uFillTx/>
                <a:latin typeface="Arial"/>
                <a:ea typeface="游ゴシック Medium"/>
                <a:cs typeface="+mn-cs"/>
              </a:rPr>
              <a:t>55</a:t>
            </a: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entities standardized</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81" name="四角形: 角を丸くする 80">
            <a:extLst>
              <a:ext uri="{FF2B5EF4-FFF2-40B4-BE49-F238E27FC236}">
                <a16:creationId xmlns:a16="http://schemas.microsoft.com/office/drawing/2014/main" id="{BCD9806D-8842-4A21-9BAC-9BA7D4946C27}"/>
              </a:ext>
            </a:extLst>
          </p:cNvPr>
          <p:cNvSpPr/>
          <p:nvPr/>
        </p:nvSpPr>
        <p:spPr>
          <a:xfrm>
            <a:off x="8439650" y="4948939"/>
            <a:ext cx="1368000" cy="1036749"/>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FFFFFF">
                    <a:lumMod val="95000"/>
                  </a:srgbClr>
                </a:solidFill>
                <a:effectLst/>
                <a:uLnTx/>
                <a:uFillTx/>
                <a:latin typeface="Arial"/>
                <a:ea typeface="游ゴシック Medium"/>
                <a:cs typeface="+mn-cs"/>
              </a:rPr>
              <a:t>26</a:t>
            </a:r>
            <a:r>
              <a:rPr kumimoji="1" lang="en-US" altLang="ja-JP" sz="14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entities standardized</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Tree>
    <p:extLst>
      <p:ext uri="{BB962C8B-B14F-4D97-AF65-F5344CB8AC3E}">
        <p14:creationId xmlns:p14="http://schemas.microsoft.com/office/powerpoint/2010/main" val="196745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64CC820F-E025-440E-A9A7-0619789582E2}"/>
              </a:ext>
            </a:extLst>
          </p:cNvPr>
          <p:cNvSpPr>
            <a:spLocks noGrp="1"/>
          </p:cNvSpPr>
          <p:nvPr>
            <p:ph type="ftr" sz="quarter" idx="3"/>
          </p:nvPr>
        </p:nvSpPr>
        <p:spPr>
          <a:xfrm>
            <a:off x="544165" y="6474646"/>
            <a:ext cx="4456805" cy="239418"/>
          </a:xfrm>
        </p:spPr>
        <p:txBody>
          <a:bodyPr/>
          <a:lstStyle/>
          <a:p>
            <a:r>
              <a:rPr lang="en-US" altLang="ja-JP"/>
              <a:t>Mitsubishi Chemical Group   </a:t>
            </a:r>
            <a:endParaRPr lang="ja-JP" altLang="en-US"/>
          </a:p>
        </p:txBody>
      </p:sp>
      <p:sp>
        <p:nvSpPr>
          <p:cNvPr id="14" name="Title 13">
            <a:extLst>
              <a:ext uri="{FF2B5EF4-FFF2-40B4-BE49-F238E27FC236}">
                <a16:creationId xmlns:a16="http://schemas.microsoft.com/office/drawing/2014/main" id="{ABB8B222-4809-43FE-BEAF-34820097AABF}"/>
              </a:ext>
            </a:extLst>
          </p:cNvPr>
          <p:cNvSpPr>
            <a:spLocks noGrp="1"/>
          </p:cNvSpPr>
          <p:nvPr>
            <p:ph type="title"/>
          </p:nvPr>
        </p:nvSpPr>
        <p:spPr>
          <a:xfrm>
            <a:off x="786164" y="155670"/>
            <a:ext cx="8281636" cy="540000"/>
          </a:xfrm>
        </p:spPr>
        <p:txBody>
          <a:bodyPr/>
          <a:lstStyle/>
          <a:p>
            <a:r>
              <a:rPr lang="en-US" dirty="0"/>
              <a:t>Overall Project Plan</a:t>
            </a:r>
          </a:p>
        </p:txBody>
      </p:sp>
      <p:sp>
        <p:nvSpPr>
          <p:cNvPr id="4" name="Slide Number Placeholder 3">
            <a:extLst>
              <a:ext uri="{FF2B5EF4-FFF2-40B4-BE49-F238E27FC236}">
                <a16:creationId xmlns:a16="http://schemas.microsoft.com/office/drawing/2014/main" id="{E6F89B36-DD2E-4E74-B236-AAC49365BD9D}"/>
              </a:ext>
            </a:extLst>
          </p:cNvPr>
          <p:cNvSpPr>
            <a:spLocks noGrp="1"/>
          </p:cNvSpPr>
          <p:nvPr>
            <p:ph type="sldNum" sz="quarter" idx="4"/>
          </p:nvPr>
        </p:nvSpPr>
        <p:spPr>
          <a:xfrm>
            <a:off x="147908" y="6474646"/>
            <a:ext cx="343672" cy="239418"/>
          </a:xfrm>
        </p:spPr>
        <p:txBody>
          <a:bodyPr/>
          <a:lstStyle/>
          <a:p>
            <a:fld id="{48394356-8693-4048-8EAF-2BF05B04AA80}" type="slidenum">
              <a:rPr lang="ja-JP" altLang="en-US" smtClean="0"/>
              <a:pPr/>
              <a:t>12</a:t>
            </a:fld>
            <a:endParaRPr lang="ja-JP" altLang="en-US"/>
          </a:p>
        </p:txBody>
      </p:sp>
      <p:sp>
        <p:nvSpPr>
          <p:cNvPr id="24" name="Rectangle 23">
            <a:extLst>
              <a:ext uri="{FF2B5EF4-FFF2-40B4-BE49-F238E27FC236}">
                <a16:creationId xmlns:a16="http://schemas.microsoft.com/office/drawing/2014/main" id="{5090AB8E-D646-D9E6-DE1D-A922289BDA11}"/>
              </a:ext>
            </a:extLst>
          </p:cNvPr>
          <p:cNvSpPr/>
          <p:nvPr/>
        </p:nvSpPr>
        <p:spPr>
          <a:xfrm>
            <a:off x="5791200" y="2438400"/>
            <a:ext cx="3200400" cy="387088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0F2D27C-CD9C-316C-0C36-0479E60D2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76863" y="1188006"/>
            <a:ext cx="11638273" cy="5060394"/>
          </a:xfrm>
          <a:prstGeom prst="rect">
            <a:avLst/>
          </a:prstGeom>
        </p:spPr>
      </p:pic>
      <p:sp>
        <p:nvSpPr>
          <p:cNvPr id="3" name="Callout: Left Arrow 2">
            <a:extLst>
              <a:ext uri="{FF2B5EF4-FFF2-40B4-BE49-F238E27FC236}">
                <a16:creationId xmlns:a16="http://schemas.microsoft.com/office/drawing/2014/main" id="{35DF7995-89C3-ECE2-6AB9-449E3A22A239}"/>
              </a:ext>
            </a:extLst>
          </p:cNvPr>
          <p:cNvSpPr/>
          <p:nvPr/>
        </p:nvSpPr>
        <p:spPr>
          <a:xfrm>
            <a:off x="5791200" y="2133600"/>
            <a:ext cx="685800" cy="243916"/>
          </a:xfrm>
          <a:prstGeom prst="leftArrowCallou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IN" sz="700" b="1" dirty="0">
                <a:solidFill>
                  <a:schemeClr val="tx1"/>
                </a:solidFill>
              </a:rPr>
              <a:t>NOW</a:t>
            </a:r>
          </a:p>
        </p:txBody>
      </p:sp>
    </p:spTree>
    <p:extLst>
      <p:ext uri="{BB962C8B-B14F-4D97-AF65-F5344CB8AC3E}">
        <p14:creationId xmlns:p14="http://schemas.microsoft.com/office/powerpoint/2010/main" val="2498041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8C4429-D899-4371-871D-0B2628DAC411}"/>
              </a:ext>
            </a:extLst>
          </p:cNvPr>
          <p:cNvSpPr>
            <a:spLocks noGrp="1"/>
          </p:cNvSpPr>
          <p:nvPr>
            <p:ph type="title"/>
          </p:nvPr>
        </p:nvSpPr>
        <p:spPr/>
        <p:txBody>
          <a:bodyPr/>
          <a:lstStyle/>
          <a:p>
            <a:r>
              <a:rPr lang="en-US" dirty="0"/>
              <a:t>High level plan – Pilot phase</a:t>
            </a:r>
          </a:p>
        </p:txBody>
      </p:sp>
      <p:pic>
        <p:nvPicPr>
          <p:cNvPr id="6" name="Picture 5">
            <a:extLst>
              <a:ext uri="{FF2B5EF4-FFF2-40B4-BE49-F238E27FC236}">
                <a16:creationId xmlns:a16="http://schemas.microsoft.com/office/drawing/2014/main" id="{E5035A0B-E5D7-91A6-29DB-B67675CBBB89}"/>
              </a:ext>
            </a:extLst>
          </p:cNvPr>
          <p:cNvPicPr>
            <a:picLocks noChangeAspect="1"/>
          </p:cNvPicPr>
          <p:nvPr/>
        </p:nvPicPr>
        <p:blipFill>
          <a:blip r:embed="rId3"/>
          <a:stretch>
            <a:fillRect/>
          </a:stretch>
        </p:blipFill>
        <p:spPr>
          <a:xfrm>
            <a:off x="647439" y="990600"/>
            <a:ext cx="10897122" cy="5357522"/>
          </a:xfrm>
          <a:prstGeom prst="rect">
            <a:avLst/>
          </a:prstGeom>
        </p:spPr>
      </p:pic>
      <p:sp>
        <p:nvSpPr>
          <p:cNvPr id="7" name="Footer Placeholder 12">
            <a:extLst>
              <a:ext uri="{FF2B5EF4-FFF2-40B4-BE49-F238E27FC236}">
                <a16:creationId xmlns:a16="http://schemas.microsoft.com/office/drawing/2014/main" id="{CC68BE01-A8C6-89EE-211F-B8DC4287F635}"/>
              </a:ext>
            </a:extLst>
          </p:cNvPr>
          <p:cNvSpPr>
            <a:spLocks noGrp="1"/>
          </p:cNvSpPr>
          <p:nvPr>
            <p:ph type="ftr" sz="quarter" idx="3"/>
          </p:nvPr>
        </p:nvSpPr>
        <p:spPr>
          <a:xfrm>
            <a:off x="544165" y="6474646"/>
            <a:ext cx="4456805" cy="239418"/>
          </a:xfrm>
        </p:spPr>
        <p:txBody>
          <a:bodyPr/>
          <a:lstStyle/>
          <a:p>
            <a:r>
              <a:rPr lang="en-US" altLang="ja-JP"/>
              <a:t>Mitsubishi Chemical Group   </a:t>
            </a:r>
            <a:endParaRPr lang="ja-JP" altLang="en-US"/>
          </a:p>
        </p:txBody>
      </p:sp>
      <p:sp>
        <p:nvSpPr>
          <p:cNvPr id="8" name="Slide Number Placeholder 3">
            <a:extLst>
              <a:ext uri="{FF2B5EF4-FFF2-40B4-BE49-F238E27FC236}">
                <a16:creationId xmlns:a16="http://schemas.microsoft.com/office/drawing/2014/main" id="{2073E793-9D75-C5D0-DBB2-C34AE8D05D68}"/>
              </a:ext>
            </a:extLst>
          </p:cNvPr>
          <p:cNvSpPr>
            <a:spLocks noGrp="1"/>
          </p:cNvSpPr>
          <p:nvPr>
            <p:ph type="sldNum" sz="quarter" idx="4"/>
          </p:nvPr>
        </p:nvSpPr>
        <p:spPr>
          <a:xfrm>
            <a:off x="147908" y="6474646"/>
            <a:ext cx="343672" cy="239418"/>
          </a:xfrm>
        </p:spPr>
        <p:txBody>
          <a:bodyPr/>
          <a:lstStyle/>
          <a:p>
            <a:fld id="{48394356-8693-4048-8EAF-2BF05B04AA80}" type="slidenum">
              <a:rPr lang="ja-JP" altLang="en-US" smtClean="0"/>
              <a:pPr/>
              <a:t>13</a:t>
            </a:fld>
            <a:endParaRPr lang="ja-JP" altLang="en-US"/>
          </a:p>
        </p:txBody>
      </p:sp>
    </p:spTree>
    <p:extLst>
      <p:ext uri="{BB962C8B-B14F-4D97-AF65-F5344CB8AC3E}">
        <p14:creationId xmlns:p14="http://schemas.microsoft.com/office/powerpoint/2010/main" val="92264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Organization</a:t>
            </a:r>
            <a:r>
              <a:rPr lang="en-US"/>
              <a:t> Structure</a:t>
            </a:r>
            <a:endParaRPr lang="en-US" dirty="0"/>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0" lang="ja-JP" altLang="en-US" sz="1100" b="0" i="0" u="none" strike="noStrike" kern="1200" cap="none" spc="0" normalizeH="0" baseline="0" noProof="0" smtClean="0">
                <a:ln>
                  <a:noFill/>
                </a:ln>
                <a:solidFill>
                  <a:prstClr val="black"/>
                </a:solidFill>
                <a:effectLst/>
                <a:uLnTx/>
                <a:uFillTx/>
                <a:latin typeface="Arial" panose="020B0604020202020204"/>
                <a:ea typeface="ＭＳ Ｐゴシック"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Mitsubishi Chemical Group</a:t>
            </a:r>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379677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699FBD-2B5F-484F-95D8-972BF1034A5A}"/>
              </a:ext>
            </a:extLst>
          </p:cNvPr>
          <p:cNvSpPr>
            <a:spLocks noGrp="1"/>
          </p:cNvSpPr>
          <p:nvPr>
            <p:ph type="title"/>
          </p:nvPr>
        </p:nvSpPr>
        <p:spPr/>
        <p:txBody>
          <a:bodyPr/>
          <a:lstStyle/>
          <a:p>
            <a:r>
              <a:rPr lang="en-US" dirty="0"/>
              <a:t>Organization Structure - Global</a:t>
            </a:r>
          </a:p>
        </p:txBody>
      </p:sp>
      <p:sp>
        <p:nvSpPr>
          <p:cNvPr id="4" name="Footer Placeholder 3">
            <a:extLst>
              <a:ext uri="{FF2B5EF4-FFF2-40B4-BE49-F238E27FC236}">
                <a16:creationId xmlns:a16="http://schemas.microsoft.com/office/drawing/2014/main" id="{94229D19-D69D-40D2-8CA9-9E468B89DF49}"/>
              </a:ext>
            </a:extLst>
          </p:cNvPr>
          <p:cNvSpPr>
            <a:spLocks noGrp="1"/>
          </p:cNvSpPr>
          <p:nvPr>
            <p:ph type="ftr" sz="quarter" idx="3"/>
          </p:nvPr>
        </p:nvSpPr>
        <p:spPr/>
        <p:txBody>
          <a:bodyPr/>
          <a:lstStyle/>
          <a:p>
            <a:r>
              <a:rPr lang="en-US" altLang="ja-JP"/>
              <a:t>Mitsubishi Chemical Group   </a:t>
            </a:r>
            <a:endParaRPr lang="ja-JP" altLang="en-US" dirty="0"/>
          </a:p>
        </p:txBody>
      </p:sp>
      <p:sp>
        <p:nvSpPr>
          <p:cNvPr id="6" name="Slide Number Placeholder 5">
            <a:extLst>
              <a:ext uri="{FF2B5EF4-FFF2-40B4-BE49-F238E27FC236}">
                <a16:creationId xmlns:a16="http://schemas.microsoft.com/office/drawing/2014/main" id="{42C63123-9726-413D-A2F8-32939D22141D}"/>
              </a:ext>
            </a:extLst>
          </p:cNvPr>
          <p:cNvSpPr>
            <a:spLocks noGrp="1"/>
          </p:cNvSpPr>
          <p:nvPr>
            <p:ph type="sldNum" sz="quarter" idx="4"/>
          </p:nvPr>
        </p:nvSpPr>
        <p:spPr/>
        <p:txBody>
          <a:bodyPr/>
          <a:lstStyle/>
          <a:p>
            <a:fld id="{48394356-8693-4048-8EAF-2BF05B04AA80}" type="slidenum">
              <a:rPr lang="ja-JP" altLang="en-US" smtClean="0"/>
              <a:pPr/>
              <a:t>15</a:t>
            </a:fld>
            <a:endParaRPr lang="ja-JP" altLang="en-US"/>
          </a:p>
        </p:txBody>
      </p:sp>
      <p:pic>
        <p:nvPicPr>
          <p:cNvPr id="107" name="Picture 106">
            <a:extLst>
              <a:ext uri="{FF2B5EF4-FFF2-40B4-BE49-F238E27FC236}">
                <a16:creationId xmlns:a16="http://schemas.microsoft.com/office/drawing/2014/main" id="{5237A88E-8978-F649-E7A5-CBABB172E8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204873" y="864266"/>
            <a:ext cx="9782253" cy="5595824"/>
          </a:xfrm>
          <a:prstGeom prst="rect">
            <a:avLst/>
          </a:prstGeom>
        </p:spPr>
      </p:pic>
    </p:spTree>
    <p:extLst>
      <p:ext uri="{BB962C8B-B14F-4D97-AF65-F5344CB8AC3E}">
        <p14:creationId xmlns:p14="http://schemas.microsoft.com/office/powerpoint/2010/main" val="38011468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699FBD-2B5F-484F-95D8-972BF1034A5A}"/>
              </a:ext>
            </a:extLst>
          </p:cNvPr>
          <p:cNvSpPr>
            <a:spLocks noGrp="1"/>
          </p:cNvSpPr>
          <p:nvPr>
            <p:ph type="title"/>
          </p:nvPr>
        </p:nvSpPr>
        <p:spPr/>
        <p:txBody>
          <a:bodyPr/>
          <a:lstStyle/>
          <a:p>
            <a:r>
              <a:rPr lang="en-US" dirty="0"/>
              <a:t>Organization Structure - </a:t>
            </a:r>
            <a:r>
              <a:rPr lang="en-US"/>
              <a:t>Global</a:t>
            </a:r>
            <a:endParaRPr lang="en-US" dirty="0"/>
          </a:p>
        </p:txBody>
      </p:sp>
      <p:sp>
        <p:nvSpPr>
          <p:cNvPr id="4" name="Footer Placeholder 3">
            <a:extLst>
              <a:ext uri="{FF2B5EF4-FFF2-40B4-BE49-F238E27FC236}">
                <a16:creationId xmlns:a16="http://schemas.microsoft.com/office/drawing/2014/main" id="{94229D19-D69D-40D2-8CA9-9E468B89DF49}"/>
              </a:ext>
            </a:extLst>
          </p:cNvPr>
          <p:cNvSpPr>
            <a:spLocks noGrp="1"/>
          </p:cNvSpPr>
          <p:nvPr>
            <p:ph type="ftr" sz="quarter" idx="3"/>
          </p:nvPr>
        </p:nvSpPr>
        <p:spPr/>
        <p:txBody>
          <a:bodyPr/>
          <a:lstStyle/>
          <a:p>
            <a:r>
              <a:rPr lang="en-US" altLang="ja-JP"/>
              <a:t>Mitsubishi Chemical Group   </a:t>
            </a:r>
            <a:endParaRPr lang="ja-JP" altLang="en-US" dirty="0"/>
          </a:p>
        </p:txBody>
      </p:sp>
      <p:sp>
        <p:nvSpPr>
          <p:cNvPr id="6" name="Slide Number Placeholder 5">
            <a:extLst>
              <a:ext uri="{FF2B5EF4-FFF2-40B4-BE49-F238E27FC236}">
                <a16:creationId xmlns:a16="http://schemas.microsoft.com/office/drawing/2014/main" id="{42C63123-9726-413D-A2F8-32939D22141D}"/>
              </a:ext>
            </a:extLst>
          </p:cNvPr>
          <p:cNvSpPr>
            <a:spLocks noGrp="1"/>
          </p:cNvSpPr>
          <p:nvPr>
            <p:ph type="sldNum" sz="quarter" idx="4"/>
          </p:nvPr>
        </p:nvSpPr>
        <p:spPr/>
        <p:txBody>
          <a:bodyPr/>
          <a:lstStyle/>
          <a:p>
            <a:fld id="{48394356-8693-4048-8EAF-2BF05B04AA80}" type="slidenum">
              <a:rPr lang="ja-JP" altLang="en-US" smtClean="0"/>
              <a:pPr/>
              <a:t>16</a:t>
            </a:fld>
            <a:endParaRPr lang="ja-JP" altLang="en-US"/>
          </a:p>
        </p:txBody>
      </p:sp>
      <p:pic>
        <p:nvPicPr>
          <p:cNvPr id="2" name="Picture 1">
            <a:extLst>
              <a:ext uri="{FF2B5EF4-FFF2-40B4-BE49-F238E27FC236}">
                <a16:creationId xmlns:a16="http://schemas.microsoft.com/office/drawing/2014/main" id="{B6A19658-C90E-E148-D88B-A1927950976A}"/>
              </a:ext>
            </a:extLst>
          </p:cNvPr>
          <p:cNvPicPr>
            <a:picLocks noChangeAspect="1"/>
          </p:cNvPicPr>
          <p:nvPr/>
        </p:nvPicPr>
        <p:blipFill>
          <a:blip r:embed="rId2"/>
          <a:stretch>
            <a:fillRect/>
          </a:stretch>
        </p:blipFill>
        <p:spPr>
          <a:xfrm>
            <a:off x="1955182" y="894394"/>
            <a:ext cx="8281636" cy="5506406"/>
          </a:xfrm>
          <a:prstGeom prst="rect">
            <a:avLst/>
          </a:prstGeom>
        </p:spPr>
      </p:pic>
    </p:spTree>
    <p:extLst>
      <p:ext uri="{BB962C8B-B14F-4D97-AF65-F5344CB8AC3E}">
        <p14:creationId xmlns:p14="http://schemas.microsoft.com/office/powerpoint/2010/main" val="29310921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CF1681C-DBE9-14DC-016B-1C796F4104F6}"/>
              </a:ext>
            </a:extLst>
          </p:cNvPr>
          <p:cNvSpPr/>
          <p:nvPr/>
        </p:nvSpPr>
        <p:spPr>
          <a:xfrm>
            <a:off x="499830" y="2332446"/>
            <a:ext cx="9683015" cy="39632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Solution Delivery Team</a:t>
            </a:r>
          </a:p>
        </p:txBody>
      </p:sp>
      <p:sp>
        <p:nvSpPr>
          <p:cNvPr id="54" name="Rectangle 53">
            <a:extLst>
              <a:ext uri="{FF2B5EF4-FFF2-40B4-BE49-F238E27FC236}">
                <a16:creationId xmlns:a16="http://schemas.microsoft.com/office/drawing/2014/main" id="{DC05A570-0081-15A3-BD9F-6FD35C7ECCED}"/>
              </a:ext>
            </a:extLst>
          </p:cNvPr>
          <p:cNvSpPr/>
          <p:nvPr/>
        </p:nvSpPr>
        <p:spPr>
          <a:xfrm>
            <a:off x="481263" y="720011"/>
            <a:ext cx="11242308" cy="14591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Regional Governance </a:t>
            </a:r>
          </a:p>
          <a:p>
            <a:r>
              <a:rPr lang="en-US" sz="900" b="1" dirty="0">
                <a:solidFill>
                  <a:schemeClr val="tx1"/>
                </a:solidFill>
              </a:rPr>
              <a:t>and Management</a:t>
            </a:r>
          </a:p>
        </p:txBody>
      </p:sp>
      <p:sp>
        <p:nvSpPr>
          <p:cNvPr id="2" name="Slide Number Placeholder 1">
            <a:extLst>
              <a:ext uri="{FF2B5EF4-FFF2-40B4-BE49-F238E27FC236}">
                <a16:creationId xmlns:a16="http://schemas.microsoft.com/office/drawing/2014/main" id="{AC692E9A-ECBD-6069-1004-7CA6960932E4}"/>
              </a:ext>
            </a:extLst>
          </p:cNvPr>
          <p:cNvSpPr>
            <a:spLocks noGrp="1"/>
          </p:cNvSpPr>
          <p:nvPr>
            <p:ph type="sldNum" sz="quarter" idx="4"/>
          </p:nvPr>
        </p:nvSpPr>
        <p:spPr/>
        <p:txBody>
          <a:bodyPr/>
          <a:lstStyle/>
          <a:p>
            <a:fld id="{48394356-8693-4048-8EAF-2BF05B04AA80}" type="slidenum">
              <a:rPr lang="ja-JP" altLang="en-US" smtClean="0"/>
              <a:pPr/>
              <a:t>17</a:t>
            </a:fld>
            <a:endParaRPr lang="ja-JP" altLang="en-US"/>
          </a:p>
        </p:txBody>
      </p:sp>
      <p:sp>
        <p:nvSpPr>
          <p:cNvPr id="3" name="Footer Placeholder 2">
            <a:extLst>
              <a:ext uri="{FF2B5EF4-FFF2-40B4-BE49-F238E27FC236}">
                <a16:creationId xmlns:a16="http://schemas.microsoft.com/office/drawing/2014/main" id="{21AB6FE0-4695-4224-EBB4-4F4D349994E5}"/>
              </a:ext>
            </a:extLst>
          </p:cNvPr>
          <p:cNvSpPr>
            <a:spLocks noGrp="1"/>
          </p:cNvSpPr>
          <p:nvPr>
            <p:ph type="ftr" sz="quarter" idx="3"/>
          </p:nvPr>
        </p:nvSpPr>
        <p:spPr/>
        <p:txBody>
          <a:bodyPr/>
          <a:lstStyle/>
          <a:p>
            <a:r>
              <a:rPr lang="en-US" altLang="ja-JP"/>
              <a:t>Mitsubishi Chemical Group   </a:t>
            </a:r>
            <a:endParaRPr lang="ja-JP" altLang="en-US"/>
          </a:p>
        </p:txBody>
      </p:sp>
      <p:sp>
        <p:nvSpPr>
          <p:cNvPr id="4" name="Title 3">
            <a:extLst>
              <a:ext uri="{FF2B5EF4-FFF2-40B4-BE49-F238E27FC236}">
                <a16:creationId xmlns:a16="http://schemas.microsoft.com/office/drawing/2014/main" id="{9EF1C545-629E-E62A-023F-9F5C0203765B}"/>
              </a:ext>
            </a:extLst>
          </p:cNvPr>
          <p:cNvSpPr>
            <a:spLocks noGrp="1"/>
          </p:cNvSpPr>
          <p:nvPr>
            <p:ph type="title"/>
          </p:nvPr>
        </p:nvSpPr>
        <p:spPr/>
        <p:txBody>
          <a:bodyPr/>
          <a:lstStyle/>
          <a:p>
            <a:r>
              <a:rPr lang="en-US" dirty="0" err="1"/>
              <a:t>Mone</a:t>
            </a:r>
            <a:r>
              <a:rPr lang="en-US" dirty="0"/>
              <a:t>-G Regional Organizational Structure - US</a:t>
            </a:r>
          </a:p>
        </p:txBody>
      </p:sp>
      <p:sp>
        <p:nvSpPr>
          <p:cNvPr id="7" name="Rectangle 6">
            <a:extLst>
              <a:ext uri="{FF2B5EF4-FFF2-40B4-BE49-F238E27FC236}">
                <a16:creationId xmlns:a16="http://schemas.microsoft.com/office/drawing/2014/main" id="{2BCEA343-FAC5-67B8-5CD6-97198B4D3ACD}"/>
              </a:ext>
            </a:extLst>
          </p:cNvPr>
          <p:cNvSpPr/>
          <p:nvPr/>
        </p:nvSpPr>
        <p:spPr>
          <a:xfrm>
            <a:off x="2165819" y="123861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Local Steering Committee Board</a:t>
            </a:r>
          </a:p>
        </p:txBody>
      </p:sp>
      <p:sp>
        <p:nvSpPr>
          <p:cNvPr id="8" name="Rectangle 7">
            <a:extLst>
              <a:ext uri="{FF2B5EF4-FFF2-40B4-BE49-F238E27FC236}">
                <a16:creationId xmlns:a16="http://schemas.microsoft.com/office/drawing/2014/main" id="{18F583EC-6E50-DC46-A66E-37F65223E252}"/>
              </a:ext>
            </a:extLst>
          </p:cNvPr>
          <p:cNvSpPr/>
          <p:nvPr/>
        </p:nvSpPr>
        <p:spPr>
          <a:xfrm>
            <a:off x="2165819" y="1727081"/>
            <a:ext cx="9015984"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j-lt"/>
                <a:ea typeface="+mn-ea"/>
                <a:cs typeface="Calibri" panose="020F0502020204030204" pitchFamily="34" charset="0"/>
              </a:rPr>
              <a:t>Program Management</a:t>
            </a:r>
          </a:p>
        </p:txBody>
      </p:sp>
      <p:sp>
        <p:nvSpPr>
          <p:cNvPr id="11" name="Rectangle: Rounded Corners 10">
            <a:extLst>
              <a:ext uri="{FF2B5EF4-FFF2-40B4-BE49-F238E27FC236}">
                <a16:creationId xmlns:a16="http://schemas.microsoft.com/office/drawing/2014/main" id="{D953E7DD-C8CA-C03D-F19D-D61FEB839035}"/>
              </a:ext>
            </a:extLst>
          </p:cNvPr>
          <p:cNvSpPr/>
          <p:nvPr/>
        </p:nvSpPr>
        <p:spPr>
          <a:xfrm>
            <a:off x="2164376" y="2446204"/>
            <a:ext cx="1941884" cy="377592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e to Man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TM - FICO)</a:t>
            </a:r>
          </a:p>
        </p:txBody>
      </p:sp>
      <p:sp>
        <p:nvSpPr>
          <p:cNvPr id="12" name="Rectangle: Rounded Corners 11">
            <a:extLst>
              <a:ext uri="{FF2B5EF4-FFF2-40B4-BE49-F238E27FC236}">
                <a16:creationId xmlns:a16="http://schemas.microsoft.com/office/drawing/2014/main" id="{7A75E3F8-F358-7B9D-027E-FE5721EEC682}"/>
              </a:ext>
            </a:extLst>
          </p:cNvPr>
          <p:cNvSpPr/>
          <p:nvPr/>
        </p:nvSpPr>
        <p:spPr>
          <a:xfrm>
            <a:off x="4152906"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cure to P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TP - MM)</a:t>
            </a:r>
          </a:p>
        </p:txBody>
      </p:sp>
      <p:sp>
        <p:nvSpPr>
          <p:cNvPr id="13" name="Rectangle: Rounded Corners 12">
            <a:extLst>
              <a:ext uri="{FF2B5EF4-FFF2-40B4-BE49-F238E27FC236}">
                <a16:creationId xmlns:a16="http://schemas.microsoft.com/office/drawing/2014/main" id="{CA5AD75C-E3BB-9BA8-4310-5F3D8DE55A9E}"/>
              </a:ext>
            </a:extLst>
          </p:cNvPr>
          <p:cNvSpPr/>
          <p:nvPr/>
        </p:nvSpPr>
        <p:spPr>
          <a:xfrm>
            <a:off x="6140204"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rder to 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TC - SD)</a:t>
            </a:r>
          </a:p>
        </p:txBody>
      </p:sp>
      <p:sp>
        <p:nvSpPr>
          <p:cNvPr id="14" name="Rectangle: Rounded Corners 13">
            <a:extLst>
              <a:ext uri="{FF2B5EF4-FFF2-40B4-BE49-F238E27FC236}">
                <a16:creationId xmlns:a16="http://schemas.microsoft.com/office/drawing/2014/main" id="{01278430-03C5-06C7-63E1-5265FE5F2DC5}"/>
              </a:ext>
            </a:extLst>
          </p:cNvPr>
          <p:cNvSpPr/>
          <p:nvPr/>
        </p:nvSpPr>
        <p:spPr>
          <a:xfrm>
            <a:off x="8127502"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emand to Su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TS – PP,PI)</a:t>
            </a:r>
          </a:p>
        </p:txBody>
      </p:sp>
      <p:sp>
        <p:nvSpPr>
          <p:cNvPr id="22" name="Rectangle 21">
            <a:extLst>
              <a:ext uri="{FF2B5EF4-FFF2-40B4-BE49-F238E27FC236}">
                <a16:creationId xmlns:a16="http://schemas.microsoft.com/office/drawing/2014/main" id="{969376C2-F0FD-A3E8-7EC3-685A0292D653}"/>
              </a:ext>
            </a:extLst>
          </p:cNvPr>
          <p:cNvSpPr/>
          <p:nvPr/>
        </p:nvSpPr>
        <p:spPr>
          <a:xfrm>
            <a:off x="598966" y="2814030"/>
            <a:ext cx="9520069"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L</a:t>
            </a:r>
          </a:p>
        </p:txBody>
      </p:sp>
      <p:sp>
        <p:nvSpPr>
          <p:cNvPr id="23" name="Rectangle 22">
            <a:extLst>
              <a:ext uri="{FF2B5EF4-FFF2-40B4-BE49-F238E27FC236}">
                <a16:creationId xmlns:a16="http://schemas.microsoft.com/office/drawing/2014/main" id="{0601CE1D-855F-F786-657C-7B241EA132D9}"/>
              </a:ext>
            </a:extLst>
          </p:cNvPr>
          <p:cNvSpPr/>
          <p:nvPr/>
        </p:nvSpPr>
        <p:spPr>
          <a:xfrm>
            <a:off x="596671" y="311293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E</a:t>
            </a:r>
          </a:p>
        </p:txBody>
      </p:sp>
      <p:sp>
        <p:nvSpPr>
          <p:cNvPr id="24" name="Rectangle 23">
            <a:extLst>
              <a:ext uri="{FF2B5EF4-FFF2-40B4-BE49-F238E27FC236}">
                <a16:creationId xmlns:a16="http://schemas.microsoft.com/office/drawing/2014/main" id="{2E6A2C67-CFC4-CAC7-EAD6-8E4C4D510CEB}"/>
              </a:ext>
            </a:extLst>
          </p:cNvPr>
          <p:cNvSpPr/>
          <p:nvPr/>
        </p:nvSpPr>
        <p:spPr>
          <a:xfrm>
            <a:off x="596671" y="341465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O</a:t>
            </a:r>
          </a:p>
        </p:txBody>
      </p:sp>
      <p:sp>
        <p:nvSpPr>
          <p:cNvPr id="25" name="Rectangle 24">
            <a:extLst>
              <a:ext uri="{FF2B5EF4-FFF2-40B4-BE49-F238E27FC236}">
                <a16:creationId xmlns:a16="http://schemas.microsoft.com/office/drawing/2014/main" id="{D2F02960-D5DD-A9AC-3CA0-7D97A2462177}"/>
              </a:ext>
            </a:extLst>
          </p:cNvPr>
          <p:cNvSpPr/>
          <p:nvPr/>
        </p:nvSpPr>
        <p:spPr>
          <a:xfrm>
            <a:off x="596671" y="371638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Key User</a:t>
            </a:r>
          </a:p>
        </p:txBody>
      </p:sp>
      <p:sp>
        <p:nvSpPr>
          <p:cNvPr id="27" name="Rectangle 26">
            <a:extLst>
              <a:ext uri="{FF2B5EF4-FFF2-40B4-BE49-F238E27FC236}">
                <a16:creationId xmlns:a16="http://schemas.microsoft.com/office/drawing/2014/main" id="{C24A20E6-1D78-3BC8-F197-7FD5CCC491A1}"/>
              </a:ext>
            </a:extLst>
          </p:cNvPr>
          <p:cNvSpPr/>
          <p:nvPr/>
        </p:nvSpPr>
        <p:spPr>
          <a:xfrm>
            <a:off x="596671" y="401810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CA</a:t>
            </a:r>
          </a:p>
        </p:txBody>
      </p:sp>
      <p:sp>
        <p:nvSpPr>
          <p:cNvPr id="33" name="Rectangle 32">
            <a:extLst>
              <a:ext uri="{FF2B5EF4-FFF2-40B4-BE49-F238E27FC236}">
                <a16:creationId xmlns:a16="http://schemas.microsoft.com/office/drawing/2014/main" id="{85B4DE14-77DE-2095-9CDA-A92CEC3635ED}"/>
              </a:ext>
            </a:extLst>
          </p:cNvPr>
          <p:cNvSpPr/>
          <p:nvPr/>
        </p:nvSpPr>
        <p:spPr>
          <a:xfrm>
            <a:off x="596671" y="4319835"/>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Lead</a:t>
            </a:r>
          </a:p>
        </p:txBody>
      </p:sp>
      <p:sp>
        <p:nvSpPr>
          <p:cNvPr id="34" name="Rectangle 33">
            <a:extLst>
              <a:ext uri="{FF2B5EF4-FFF2-40B4-BE49-F238E27FC236}">
                <a16:creationId xmlns:a16="http://schemas.microsoft.com/office/drawing/2014/main" id="{A855146A-3AAC-4E56-A02B-6BB345165A11}"/>
              </a:ext>
            </a:extLst>
          </p:cNvPr>
          <p:cNvSpPr/>
          <p:nvPr/>
        </p:nvSpPr>
        <p:spPr>
          <a:xfrm>
            <a:off x="596671" y="462156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SAP Expert</a:t>
            </a:r>
          </a:p>
        </p:txBody>
      </p:sp>
      <p:sp>
        <p:nvSpPr>
          <p:cNvPr id="35" name="Rectangle 34">
            <a:extLst>
              <a:ext uri="{FF2B5EF4-FFF2-40B4-BE49-F238E27FC236}">
                <a16:creationId xmlns:a16="http://schemas.microsoft.com/office/drawing/2014/main" id="{C2BB8A7C-6BAF-F28E-3A23-E495BFB1935E}"/>
              </a:ext>
            </a:extLst>
          </p:cNvPr>
          <p:cNvSpPr/>
          <p:nvPr/>
        </p:nvSpPr>
        <p:spPr>
          <a:xfrm>
            <a:off x="596671" y="492328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Team</a:t>
            </a:r>
          </a:p>
        </p:txBody>
      </p:sp>
      <p:sp>
        <p:nvSpPr>
          <p:cNvPr id="38" name="Rectangle 37">
            <a:extLst>
              <a:ext uri="{FF2B5EF4-FFF2-40B4-BE49-F238E27FC236}">
                <a16:creationId xmlns:a16="http://schemas.microsoft.com/office/drawing/2014/main" id="{E982D813-5E46-F729-64C3-78F220EF4188}"/>
              </a:ext>
            </a:extLst>
          </p:cNvPr>
          <p:cNvSpPr/>
          <p:nvPr/>
        </p:nvSpPr>
        <p:spPr>
          <a:xfrm>
            <a:off x="596671" y="522501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ata Migration Team</a:t>
            </a:r>
          </a:p>
        </p:txBody>
      </p:sp>
      <p:sp>
        <p:nvSpPr>
          <p:cNvPr id="41" name="Rectangle 40">
            <a:extLst>
              <a:ext uri="{FF2B5EF4-FFF2-40B4-BE49-F238E27FC236}">
                <a16:creationId xmlns:a16="http://schemas.microsoft.com/office/drawing/2014/main" id="{FBA9B523-D0D9-5B31-0DCA-C57DE1A4F785}"/>
              </a:ext>
            </a:extLst>
          </p:cNvPr>
          <p:cNvSpPr/>
          <p:nvPr/>
        </p:nvSpPr>
        <p:spPr>
          <a:xfrm>
            <a:off x="596671" y="552673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Testing Team</a:t>
            </a:r>
          </a:p>
        </p:txBody>
      </p:sp>
      <p:sp>
        <p:nvSpPr>
          <p:cNvPr id="42" name="Rectangle 41">
            <a:extLst>
              <a:ext uri="{FF2B5EF4-FFF2-40B4-BE49-F238E27FC236}">
                <a16:creationId xmlns:a16="http://schemas.microsoft.com/office/drawing/2014/main" id="{B56B3108-2218-B288-767B-8F4A775BF4F5}"/>
              </a:ext>
            </a:extLst>
          </p:cNvPr>
          <p:cNvSpPr/>
          <p:nvPr/>
        </p:nvSpPr>
        <p:spPr>
          <a:xfrm>
            <a:off x="596671" y="5828460"/>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evelopment Team</a:t>
            </a:r>
          </a:p>
        </p:txBody>
      </p:sp>
      <p:cxnSp>
        <p:nvCxnSpPr>
          <p:cNvPr id="58" name="Connector: Elbow 57">
            <a:extLst>
              <a:ext uri="{FF2B5EF4-FFF2-40B4-BE49-F238E27FC236}">
                <a16:creationId xmlns:a16="http://schemas.microsoft.com/office/drawing/2014/main" id="{E5742A2E-1D23-5AAF-698D-3730AC2A2060}"/>
              </a:ext>
            </a:extLst>
          </p:cNvPr>
          <p:cNvCxnSpPr>
            <a:cxnSpLocks/>
            <a:stCxn id="11" idx="0"/>
            <a:endCxn id="8" idx="2"/>
          </p:cNvCxnSpPr>
          <p:nvPr/>
        </p:nvCxnSpPr>
        <p:spPr>
          <a:xfrm rot="5400000" flipH="1" flipV="1">
            <a:off x="4727883" y="500277"/>
            <a:ext cx="353363" cy="35384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BA4F3260-A8D7-444F-F287-FA35AE3294E3}"/>
              </a:ext>
            </a:extLst>
          </p:cNvPr>
          <p:cNvCxnSpPr>
            <a:cxnSpLocks/>
            <a:stCxn id="12" idx="0"/>
            <a:endCxn id="8" idx="2"/>
          </p:cNvCxnSpPr>
          <p:nvPr/>
        </p:nvCxnSpPr>
        <p:spPr>
          <a:xfrm rot="5400000" flipH="1" flipV="1">
            <a:off x="5723375" y="1493315"/>
            <a:ext cx="350909" cy="15499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3C99F0F8-185F-DBB3-795D-05BFCEECC2DA}"/>
              </a:ext>
            </a:extLst>
          </p:cNvPr>
          <p:cNvCxnSpPr>
            <a:cxnSpLocks/>
            <a:stCxn id="13" idx="0"/>
            <a:endCxn id="8" idx="2"/>
          </p:cNvCxnSpPr>
          <p:nvPr/>
        </p:nvCxnSpPr>
        <p:spPr>
          <a:xfrm rot="16200000" flipV="1">
            <a:off x="6717025" y="2049628"/>
            <a:ext cx="350909" cy="4373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43D9DA43-35EA-B096-AA30-FD53400DE767}"/>
              </a:ext>
            </a:extLst>
          </p:cNvPr>
          <p:cNvCxnSpPr>
            <a:cxnSpLocks/>
            <a:stCxn id="14" idx="0"/>
            <a:endCxn id="8" idx="2"/>
          </p:cNvCxnSpPr>
          <p:nvPr/>
        </p:nvCxnSpPr>
        <p:spPr>
          <a:xfrm rot="16200000" flipV="1">
            <a:off x="7710674" y="1055979"/>
            <a:ext cx="350909" cy="242463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8001AC96-F43E-B3A9-8028-3707DE7A8279}"/>
              </a:ext>
            </a:extLst>
          </p:cNvPr>
          <p:cNvSpPr/>
          <p:nvPr/>
        </p:nvSpPr>
        <p:spPr>
          <a:xfrm>
            <a:off x="10250115" y="2400970"/>
            <a:ext cx="1473456" cy="11796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a:solidFill>
                  <a:sysClr val="windowText" lastClr="000000"/>
                </a:solidFill>
              </a:rPr>
              <a:t>Change Management Office</a:t>
            </a:r>
          </a:p>
        </p:txBody>
      </p:sp>
      <p:sp>
        <p:nvSpPr>
          <p:cNvPr id="84" name="Rectangle: Rounded Corners 83">
            <a:extLst>
              <a:ext uri="{FF2B5EF4-FFF2-40B4-BE49-F238E27FC236}">
                <a16:creationId xmlns:a16="http://schemas.microsoft.com/office/drawing/2014/main" id="{F88EF435-B3A1-F99D-6345-7674E143F473}"/>
              </a:ext>
            </a:extLst>
          </p:cNvPr>
          <p:cNvSpPr/>
          <p:nvPr/>
        </p:nvSpPr>
        <p:spPr>
          <a:xfrm>
            <a:off x="10404909" y="2751870"/>
            <a:ext cx="1187583" cy="67713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egional Change Team</a:t>
            </a:r>
          </a:p>
        </p:txBody>
      </p:sp>
      <p:cxnSp>
        <p:nvCxnSpPr>
          <p:cNvPr id="86" name="Connector: Elbow 85">
            <a:extLst>
              <a:ext uri="{FF2B5EF4-FFF2-40B4-BE49-F238E27FC236}">
                <a16:creationId xmlns:a16="http://schemas.microsoft.com/office/drawing/2014/main" id="{B41972BD-6609-6E11-6FB7-F19A3A756A68}"/>
              </a:ext>
            </a:extLst>
          </p:cNvPr>
          <p:cNvCxnSpPr>
            <a:cxnSpLocks/>
            <a:stCxn id="83" idx="0"/>
            <a:endCxn id="8" idx="2"/>
          </p:cNvCxnSpPr>
          <p:nvPr/>
        </p:nvCxnSpPr>
        <p:spPr>
          <a:xfrm rot="16200000" flipV="1">
            <a:off x="8676263" y="90390"/>
            <a:ext cx="308129" cy="43130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44DA8A1-562B-F359-9288-C3C5329F84E4}"/>
              </a:ext>
            </a:extLst>
          </p:cNvPr>
          <p:cNvCxnSpPr>
            <a:cxnSpLocks/>
            <a:stCxn id="7" idx="0"/>
            <a:endCxn id="109" idx="2"/>
          </p:cNvCxnSpPr>
          <p:nvPr/>
        </p:nvCxnSpPr>
        <p:spPr>
          <a:xfrm flipH="1" flipV="1">
            <a:off x="6673811" y="1115900"/>
            <a:ext cx="1443" cy="12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1217FE4-102B-DF02-DD95-145A40E632B7}"/>
              </a:ext>
            </a:extLst>
          </p:cNvPr>
          <p:cNvCxnSpPr>
            <a:cxnSpLocks/>
            <a:stCxn id="8" idx="0"/>
            <a:endCxn id="7" idx="2"/>
          </p:cNvCxnSpPr>
          <p:nvPr/>
        </p:nvCxnSpPr>
        <p:spPr>
          <a:xfrm flipV="1">
            <a:off x="6673811" y="1604370"/>
            <a:ext cx="1443" cy="122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FB248E0-6D48-BB62-C53C-02EA00220295}"/>
              </a:ext>
            </a:extLst>
          </p:cNvPr>
          <p:cNvSpPr/>
          <p:nvPr/>
        </p:nvSpPr>
        <p:spPr>
          <a:xfrm>
            <a:off x="2164376" y="75014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Regional Program Director</a:t>
            </a:r>
          </a:p>
        </p:txBody>
      </p:sp>
      <p:sp>
        <p:nvSpPr>
          <p:cNvPr id="5" name="Rectangle 4">
            <a:extLst>
              <a:ext uri="{FF2B5EF4-FFF2-40B4-BE49-F238E27FC236}">
                <a16:creationId xmlns:a16="http://schemas.microsoft.com/office/drawing/2014/main" id="{ED5BF88F-244F-6DFC-AD18-CB52B1845EA4}"/>
              </a:ext>
            </a:extLst>
          </p:cNvPr>
          <p:cNvSpPr/>
          <p:nvPr/>
        </p:nvSpPr>
        <p:spPr>
          <a:xfrm>
            <a:off x="2219741"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6" name="Rectangle 5">
            <a:extLst>
              <a:ext uri="{FF2B5EF4-FFF2-40B4-BE49-F238E27FC236}">
                <a16:creationId xmlns:a16="http://schemas.microsoft.com/office/drawing/2014/main" id="{BE670DDD-267D-636A-2C0E-F4BA28E4E468}"/>
              </a:ext>
            </a:extLst>
          </p:cNvPr>
          <p:cNvSpPr/>
          <p:nvPr/>
        </p:nvSpPr>
        <p:spPr>
          <a:xfrm>
            <a:off x="4192097" y="2751871"/>
            <a:ext cx="1847327" cy="3386118"/>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9" name="Rectangle 8">
            <a:extLst>
              <a:ext uri="{FF2B5EF4-FFF2-40B4-BE49-F238E27FC236}">
                <a16:creationId xmlns:a16="http://schemas.microsoft.com/office/drawing/2014/main" id="{7B4EAAB2-A0A3-D165-5020-65DEDF6889B8}"/>
              </a:ext>
            </a:extLst>
          </p:cNvPr>
          <p:cNvSpPr/>
          <p:nvPr/>
        </p:nvSpPr>
        <p:spPr>
          <a:xfrm>
            <a:off x="6185283"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5" name="Rectangle 14">
            <a:extLst>
              <a:ext uri="{FF2B5EF4-FFF2-40B4-BE49-F238E27FC236}">
                <a16:creationId xmlns:a16="http://schemas.microsoft.com/office/drawing/2014/main" id="{5D35EE44-8D4C-7480-0305-66599D98700F}"/>
              </a:ext>
            </a:extLst>
          </p:cNvPr>
          <p:cNvSpPr/>
          <p:nvPr/>
        </p:nvSpPr>
        <p:spPr>
          <a:xfrm>
            <a:off x="8180297"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7" name="Rectangle 16">
            <a:extLst>
              <a:ext uri="{FF2B5EF4-FFF2-40B4-BE49-F238E27FC236}">
                <a16:creationId xmlns:a16="http://schemas.microsoft.com/office/drawing/2014/main" id="{F2C8522C-1B77-81CD-46D9-1F4E6BB1929B}"/>
              </a:ext>
            </a:extLst>
          </p:cNvPr>
          <p:cNvSpPr/>
          <p:nvPr/>
        </p:nvSpPr>
        <p:spPr>
          <a:xfrm>
            <a:off x="2319576" y="925416"/>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7" name="Rectangle 36">
            <a:extLst>
              <a:ext uri="{FF2B5EF4-FFF2-40B4-BE49-F238E27FC236}">
                <a16:creationId xmlns:a16="http://schemas.microsoft.com/office/drawing/2014/main" id="{5A5B9C94-25C9-04E9-56B4-A71733C281B7}"/>
              </a:ext>
            </a:extLst>
          </p:cNvPr>
          <p:cNvSpPr/>
          <p:nvPr/>
        </p:nvSpPr>
        <p:spPr>
          <a:xfrm>
            <a:off x="2319576" y="1408998"/>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9" name="Rectangle 38">
            <a:extLst>
              <a:ext uri="{FF2B5EF4-FFF2-40B4-BE49-F238E27FC236}">
                <a16:creationId xmlns:a16="http://schemas.microsoft.com/office/drawing/2014/main" id="{FAD8652D-A490-7FF4-D082-F4198BCF47F6}"/>
              </a:ext>
            </a:extLst>
          </p:cNvPr>
          <p:cNvSpPr/>
          <p:nvPr/>
        </p:nvSpPr>
        <p:spPr>
          <a:xfrm>
            <a:off x="2319576" y="1907113"/>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16" name="TextBox 15">
            <a:extLst>
              <a:ext uri="{FF2B5EF4-FFF2-40B4-BE49-F238E27FC236}">
                <a16:creationId xmlns:a16="http://schemas.microsoft.com/office/drawing/2014/main" id="{25B766D7-32C8-C5AD-B831-C4FFB7C0504C}"/>
              </a:ext>
            </a:extLst>
          </p:cNvPr>
          <p:cNvSpPr txBox="1"/>
          <p:nvPr/>
        </p:nvSpPr>
        <p:spPr>
          <a:xfrm>
            <a:off x="10400051" y="2985183"/>
            <a:ext cx="1197297" cy="200055"/>
          </a:xfrm>
          <a:prstGeom prst="rect">
            <a:avLst/>
          </a:prstGeom>
          <a:noFill/>
        </p:spPr>
        <p:txBody>
          <a:bodyPr wrap="square">
            <a:spAutoFit/>
          </a:bodyPr>
          <a:lstStyle/>
          <a:p>
            <a:r>
              <a:rPr lang="en-US" sz="700" b="1" dirty="0">
                <a:solidFill>
                  <a:schemeClr val="bg1"/>
                </a:solidFill>
              </a:rPr>
              <a:t>Melissa Ho</a:t>
            </a:r>
          </a:p>
        </p:txBody>
      </p:sp>
      <p:sp>
        <p:nvSpPr>
          <p:cNvPr id="21" name="TextBox 20">
            <a:extLst>
              <a:ext uri="{FF2B5EF4-FFF2-40B4-BE49-F238E27FC236}">
                <a16:creationId xmlns:a16="http://schemas.microsoft.com/office/drawing/2014/main" id="{FE6904DA-92FE-5DF6-C481-8195878AE273}"/>
              </a:ext>
            </a:extLst>
          </p:cNvPr>
          <p:cNvSpPr txBox="1"/>
          <p:nvPr/>
        </p:nvSpPr>
        <p:spPr>
          <a:xfrm>
            <a:off x="2150861" y="4344893"/>
            <a:ext cx="771935" cy="207247"/>
          </a:xfrm>
          <a:prstGeom prst="rect">
            <a:avLst/>
          </a:prstGeom>
          <a:noFill/>
        </p:spPr>
        <p:txBody>
          <a:bodyPr wrap="square">
            <a:spAutoFit/>
          </a:bodyPr>
          <a:lstStyle/>
          <a:p>
            <a:r>
              <a:rPr lang="en-US" sz="700" b="1" dirty="0">
                <a:solidFill>
                  <a:schemeClr val="accent1"/>
                </a:solidFill>
                <a:latin typeface="+mj-lt"/>
              </a:rPr>
              <a:t>Kapil Biswas</a:t>
            </a:r>
          </a:p>
        </p:txBody>
      </p:sp>
      <p:sp>
        <p:nvSpPr>
          <p:cNvPr id="30" name="TextBox 29">
            <a:extLst>
              <a:ext uri="{FF2B5EF4-FFF2-40B4-BE49-F238E27FC236}">
                <a16:creationId xmlns:a16="http://schemas.microsoft.com/office/drawing/2014/main" id="{ED5D4FED-6EE6-BFE1-4141-847CBF7C6B18}"/>
              </a:ext>
            </a:extLst>
          </p:cNvPr>
          <p:cNvSpPr txBox="1"/>
          <p:nvPr/>
        </p:nvSpPr>
        <p:spPr>
          <a:xfrm>
            <a:off x="2352699" y="1896371"/>
            <a:ext cx="903684" cy="200055"/>
          </a:xfrm>
          <a:prstGeom prst="rect">
            <a:avLst/>
          </a:prstGeom>
          <a:noFill/>
        </p:spPr>
        <p:txBody>
          <a:bodyPr wrap="square">
            <a:spAutoFit/>
          </a:bodyPr>
          <a:lstStyle/>
          <a:p>
            <a:r>
              <a:rPr lang="en-US" sz="700" b="1" dirty="0">
                <a:solidFill>
                  <a:schemeClr val="accent1"/>
                </a:solidFill>
                <a:latin typeface="+mj-lt"/>
              </a:rPr>
              <a:t>Dalbir Sidhu</a:t>
            </a:r>
          </a:p>
        </p:txBody>
      </p:sp>
      <p:sp>
        <p:nvSpPr>
          <p:cNvPr id="46" name="TextBox 45">
            <a:extLst>
              <a:ext uri="{FF2B5EF4-FFF2-40B4-BE49-F238E27FC236}">
                <a16:creationId xmlns:a16="http://schemas.microsoft.com/office/drawing/2014/main" id="{662832A0-9798-5299-ED0F-5FEE96602FF4}"/>
              </a:ext>
            </a:extLst>
          </p:cNvPr>
          <p:cNvSpPr txBox="1"/>
          <p:nvPr/>
        </p:nvSpPr>
        <p:spPr>
          <a:xfrm>
            <a:off x="6185283" y="4351528"/>
            <a:ext cx="1645153" cy="200055"/>
          </a:xfrm>
          <a:prstGeom prst="rect">
            <a:avLst/>
          </a:prstGeom>
          <a:noFill/>
        </p:spPr>
        <p:txBody>
          <a:bodyPr wrap="square">
            <a:spAutoFit/>
          </a:bodyPr>
          <a:lstStyle/>
          <a:p>
            <a:r>
              <a:rPr lang="en-US" sz="700" b="1" dirty="0">
                <a:solidFill>
                  <a:schemeClr val="accent1"/>
                </a:solidFill>
                <a:latin typeface="+mj-lt"/>
              </a:rPr>
              <a:t>Sreekanth </a:t>
            </a:r>
            <a:r>
              <a:rPr lang="en-US" sz="700" b="1" dirty="0" err="1">
                <a:solidFill>
                  <a:schemeClr val="accent1"/>
                </a:solidFill>
                <a:latin typeface="+mj-lt"/>
              </a:rPr>
              <a:t>Sankula</a:t>
            </a:r>
            <a:endParaRPr lang="en-US" sz="700" b="1" dirty="0">
              <a:solidFill>
                <a:schemeClr val="accent1"/>
              </a:solidFill>
              <a:latin typeface="+mj-lt"/>
            </a:endParaRPr>
          </a:p>
        </p:txBody>
      </p:sp>
      <p:sp>
        <p:nvSpPr>
          <p:cNvPr id="48" name="TextBox 47">
            <a:extLst>
              <a:ext uri="{FF2B5EF4-FFF2-40B4-BE49-F238E27FC236}">
                <a16:creationId xmlns:a16="http://schemas.microsoft.com/office/drawing/2014/main" id="{9040C6C8-63F5-4C57-9042-55AF44043C73}"/>
              </a:ext>
            </a:extLst>
          </p:cNvPr>
          <p:cNvSpPr txBox="1"/>
          <p:nvPr/>
        </p:nvSpPr>
        <p:spPr>
          <a:xfrm>
            <a:off x="4540878" y="1895241"/>
            <a:ext cx="1087767" cy="200055"/>
          </a:xfrm>
          <a:prstGeom prst="rect">
            <a:avLst/>
          </a:prstGeom>
          <a:noFill/>
        </p:spPr>
        <p:txBody>
          <a:bodyPr wrap="square">
            <a:spAutoFit/>
          </a:bodyPr>
          <a:lstStyle/>
          <a:p>
            <a:r>
              <a:rPr lang="en-US" sz="700" b="1" dirty="0" err="1">
                <a:solidFill>
                  <a:schemeClr val="accent1"/>
                </a:solidFill>
                <a:latin typeface="+mj-lt"/>
              </a:rPr>
              <a:t>Sumit</a:t>
            </a:r>
            <a:r>
              <a:rPr lang="en-US" sz="700" b="1" dirty="0">
                <a:solidFill>
                  <a:schemeClr val="accent1"/>
                </a:solidFill>
                <a:latin typeface="+mj-lt"/>
              </a:rPr>
              <a:t> Mathur</a:t>
            </a:r>
          </a:p>
        </p:txBody>
      </p:sp>
      <p:sp>
        <p:nvSpPr>
          <p:cNvPr id="50" name="TextBox 49">
            <a:extLst>
              <a:ext uri="{FF2B5EF4-FFF2-40B4-BE49-F238E27FC236}">
                <a16:creationId xmlns:a16="http://schemas.microsoft.com/office/drawing/2014/main" id="{EE32896F-34B9-DB05-D431-2D8A9BE24696}"/>
              </a:ext>
            </a:extLst>
          </p:cNvPr>
          <p:cNvSpPr txBox="1"/>
          <p:nvPr/>
        </p:nvSpPr>
        <p:spPr>
          <a:xfrm>
            <a:off x="3300891" y="1899631"/>
            <a:ext cx="1086230" cy="200055"/>
          </a:xfrm>
          <a:prstGeom prst="rect">
            <a:avLst/>
          </a:prstGeom>
          <a:noFill/>
        </p:spPr>
        <p:txBody>
          <a:bodyPr wrap="square">
            <a:spAutoFit/>
          </a:bodyPr>
          <a:lstStyle/>
          <a:p>
            <a:r>
              <a:rPr lang="en-US" sz="700" b="1" dirty="0">
                <a:solidFill>
                  <a:schemeClr val="accent1"/>
                </a:solidFill>
                <a:latin typeface="+mj-lt"/>
              </a:rPr>
              <a:t>Mandeep Oberoi</a:t>
            </a:r>
          </a:p>
        </p:txBody>
      </p:sp>
      <p:sp>
        <p:nvSpPr>
          <p:cNvPr id="19" name="TextBox 18">
            <a:extLst>
              <a:ext uri="{FF2B5EF4-FFF2-40B4-BE49-F238E27FC236}">
                <a16:creationId xmlns:a16="http://schemas.microsoft.com/office/drawing/2014/main" id="{95363DCA-A905-A66C-5BF9-D477D2D1329D}"/>
              </a:ext>
            </a:extLst>
          </p:cNvPr>
          <p:cNvSpPr txBox="1"/>
          <p:nvPr/>
        </p:nvSpPr>
        <p:spPr>
          <a:xfrm>
            <a:off x="2922796" y="4341741"/>
            <a:ext cx="1546271" cy="200055"/>
          </a:xfrm>
          <a:prstGeom prst="rect">
            <a:avLst/>
          </a:prstGeom>
          <a:noFill/>
        </p:spPr>
        <p:txBody>
          <a:bodyPr wrap="square">
            <a:spAutoFit/>
          </a:bodyPr>
          <a:lstStyle/>
          <a:p>
            <a:r>
              <a:rPr lang="en-US" sz="700" b="1" dirty="0">
                <a:solidFill>
                  <a:schemeClr val="accent1"/>
                </a:solidFill>
                <a:latin typeface="+mj-lt"/>
              </a:rPr>
              <a:t>Suhail Khan</a:t>
            </a:r>
          </a:p>
        </p:txBody>
      </p:sp>
      <p:sp>
        <p:nvSpPr>
          <p:cNvPr id="20" name="TextBox 19">
            <a:extLst>
              <a:ext uri="{FF2B5EF4-FFF2-40B4-BE49-F238E27FC236}">
                <a16:creationId xmlns:a16="http://schemas.microsoft.com/office/drawing/2014/main" id="{5EC0050B-E5FE-E4F4-CCEB-2F6A8A2226CC}"/>
              </a:ext>
            </a:extLst>
          </p:cNvPr>
          <p:cNvSpPr txBox="1"/>
          <p:nvPr/>
        </p:nvSpPr>
        <p:spPr>
          <a:xfrm>
            <a:off x="8219982" y="4348488"/>
            <a:ext cx="1645153" cy="200055"/>
          </a:xfrm>
          <a:prstGeom prst="rect">
            <a:avLst/>
          </a:prstGeom>
          <a:noFill/>
        </p:spPr>
        <p:txBody>
          <a:bodyPr wrap="square">
            <a:spAutoFit/>
          </a:bodyPr>
          <a:lstStyle/>
          <a:p>
            <a:r>
              <a:rPr lang="en-US" sz="700" b="1" dirty="0">
                <a:solidFill>
                  <a:schemeClr val="accent1"/>
                </a:solidFill>
                <a:latin typeface="+mj-lt"/>
              </a:rPr>
              <a:t>Randy Manning</a:t>
            </a:r>
          </a:p>
        </p:txBody>
      </p:sp>
    </p:spTree>
    <p:extLst>
      <p:ext uri="{BB962C8B-B14F-4D97-AF65-F5344CB8AC3E}">
        <p14:creationId xmlns:p14="http://schemas.microsoft.com/office/powerpoint/2010/main" val="1632858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CF1681C-DBE9-14DC-016B-1C796F4104F6}"/>
              </a:ext>
            </a:extLst>
          </p:cNvPr>
          <p:cNvSpPr/>
          <p:nvPr/>
        </p:nvSpPr>
        <p:spPr>
          <a:xfrm>
            <a:off x="481263" y="2400970"/>
            <a:ext cx="9683015" cy="39632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Solution Delivery Team</a:t>
            </a:r>
          </a:p>
        </p:txBody>
      </p:sp>
      <p:sp>
        <p:nvSpPr>
          <p:cNvPr id="54" name="Rectangle 53">
            <a:extLst>
              <a:ext uri="{FF2B5EF4-FFF2-40B4-BE49-F238E27FC236}">
                <a16:creationId xmlns:a16="http://schemas.microsoft.com/office/drawing/2014/main" id="{DC05A570-0081-15A3-BD9F-6FD35C7ECCED}"/>
              </a:ext>
            </a:extLst>
          </p:cNvPr>
          <p:cNvSpPr/>
          <p:nvPr/>
        </p:nvSpPr>
        <p:spPr>
          <a:xfrm>
            <a:off x="481263" y="720011"/>
            <a:ext cx="11242308" cy="14591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Regional Governance </a:t>
            </a:r>
          </a:p>
          <a:p>
            <a:r>
              <a:rPr lang="en-US" sz="900" b="1" dirty="0">
                <a:solidFill>
                  <a:schemeClr val="tx1"/>
                </a:solidFill>
              </a:rPr>
              <a:t>and Management</a:t>
            </a:r>
          </a:p>
        </p:txBody>
      </p:sp>
      <p:sp>
        <p:nvSpPr>
          <p:cNvPr id="2" name="Slide Number Placeholder 1">
            <a:extLst>
              <a:ext uri="{FF2B5EF4-FFF2-40B4-BE49-F238E27FC236}">
                <a16:creationId xmlns:a16="http://schemas.microsoft.com/office/drawing/2014/main" id="{AC692E9A-ECBD-6069-1004-7CA6960932E4}"/>
              </a:ext>
            </a:extLst>
          </p:cNvPr>
          <p:cNvSpPr>
            <a:spLocks noGrp="1"/>
          </p:cNvSpPr>
          <p:nvPr>
            <p:ph type="sldNum" sz="quarter" idx="4"/>
          </p:nvPr>
        </p:nvSpPr>
        <p:spPr/>
        <p:txBody>
          <a:bodyPr/>
          <a:lstStyle/>
          <a:p>
            <a:fld id="{48394356-8693-4048-8EAF-2BF05B04AA80}" type="slidenum">
              <a:rPr lang="ja-JP" altLang="en-US" smtClean="0"/>
              <a:pPr/>
              <a:t>18</a:t>
            </a:fld>
            <a:endParaRPr lang="ja-JP" altLang="en-US"/>
          </a:p>
        </p:txBody>
      </p:sp>
      <p:sp>
        <p:nvSpPr>
          <p:cNvPr id="3" name="Footer Placeholder 2">
            <a:extLst>
              <a:ext uri="{FF2B5EF4-FFF2-40B4-BE49-F238E27FC236}">
                <a16:creationId xmlns:a16="http://schemas.microsoft.com/office/drawing/2014/main" id="{21AB6FE0-4695-4224-EBB4-4F4D349994E5}"/>
              </a:ext>
            </a:extLst>
          </p:cNvPr>
          <p:cNvSpPr>
            <a:spLocks noGrp="1"/>
          </p:cNvSpPr>
          <p:nvPr>
            <p:ph type="ftr" sz="quarter" idx="3"/>
          </p:nvPr>
        </p:nvSpPr>
        <p:spPr/>
        <p:txBody>
          <a:bodyPr/>
          <a:lstStyle/>
          <a:p>
            <a:r>
              <a:rPr lang="en-US" altLang="ja-JP"/>
              <a:t>Mitsubishi Chemical Group   </a:t>
            </a:r>
            <a:endParaRPr lang="ja-JP" altLang="en-US"/>
          </a:p>
        </p:txBody>
      </p:sp>
      <p:sp>
        <p:nvSpPr>
          <p:cNvPr id="4" name="Title 3">
            <a:extLst>
              <a:ext uri="{FF2B5EF4-FFF2-40B4-BE49-F238E27FC236}">
                <a16:creationId xmlns:a16="http://schemas.microsoft.com/office/drawing/2014/main" id="{9EF1C545-629E-E62A-023F-9F5C0203765B}"/>
              </a:ext>
            </a:extLst>
          </p:cNvPr>
          <p:cNvSpPr>
            <a:spLocks noGrp="1"/>
          </p:cNvSpPr>
          <p:nvPr>
            <p:ph type="title"/>
          </p:nvPr>
        </p:nvSpPr>
        <p:spPr/>
        <p:txBody>
          <a:bodyPr/>
          <a:lstStyle/>
          <a:p>
            <a:r>
              <a:rPr lang="en-US" err="1"/>
              <a:t>Mone</a:t>
            </a:r>
            <a:r>
              <a:rPr lang="en-US"/>
              <a:t>-G Regional Organizational Structure - China</a:t>
            </a:r>
          </a:p>
        </p:txBody>
      </p:sp>
      <p:sp>
        <p:nvSpPr>
          <p:cNvPr id="7" name="Rectangle 6">
            <a:extLst>
              <a:ext uri="{FF2B5EF4-FFF2-40B4-BE49-F238E27FC236}">
                <a16:creationId xmlns:a16="http://schemas.microsoft.com/office/drawing/2014/main" id="{2BCEA343-FAC5-67B8-5CD6-97198B4D3ACD}"/>
              </a:ext>
            </a:extLst>
          </p:cNvPr>
          <p:cNvSpPr/>
          <p:nvPr/>
        </p:nvSpPr>
        <p:spPr>
          <a:xfrm>
            <a:off x="2165819" y="123861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j-lt"/>
                <a:ea typeface="+mn-ea"/>
                <a:cs typeface="Calibri" panose="020F0502020204030204" pitchFamily="34" charset="0"/>
              </a:rPr>
              <a:t>Local Steering Committee Board</a:t>
            </a:r>
          </a:p>
        </p:txBody>
      </p:sp>
      <p:sp>
        <p:nvSpPr>
          <p:cNvPr id="8" name="Rectangle 7">
            <a:extLst>
              <a:ext uri="{FF2B5EF4-FFF2-40B4-BE49-F238E27FC236}">
                <a16:creationId xmlns:a16="http://schemas.microsoft.com/office/drawing/2014/main" id="{18F583EC-6E50-DC46-A66E-37F65223E252}"/>
              </a:ext>
            </a:extLst>
          </p:cNvPr>
          <p:cNvSpPr/>
          <p:nvPr/>
        </p:nvSpPr>
        <p:spPr>
          <a:xfrm>
            <a:off x="2165819" y="1727081"/>
            <a:ext cx="9015984"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j-lt"/>
                <a:ea typeface="+mn-ea"/>
                <a:cs typeface="Calibri" panose="020F0502020204030204" pitchFamily="34" charset="0"/>
              </a:rPr>
              <a:t>Program Management</a:t>
            </a:r>
          </a:p>
        </p:txBody>
      </p:sp>
      <p:sp>
        <p:nvSpPr>
          <p:cNvPr id="11" name="Rectangle: Rounded Corners 10">
            <a:extLst>
              <a:ext uri="{FF2B5EF4-FFF2-40B4-BE49-F238E27FC236}">
                <a16:creationId xmlns:a16="http://schemas.microsoft.com/office/drawing/2014/main" id="{D953E7DD-C8CA-C03D-F19D-D61FEB839035}"/>
              </a:ext>
            </a:extLst>
          </p:cNvPr>
          <p:cNvSpPr/>
          <p:nvPr/>
        </p:nvSpPr>
        <p:spPr>
          <a:xfrm>
            <a:off x="2164376" y="2446204"/>
            <a:ext cx="1941884" cy="377592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e to Man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TM - FICO)</a:t>
            </a:r>
          </a:p>
        </p:txBody>
      </p:sp>
      <p:sp>
        <p:nvSpPr>
          <p:cNvPr id="12" name="Rectangle: Rounded Corners 11">
            <a:extLst>
              <a:ext uri="{FF2B5EF4-FFF2-40B4-BE49-F238E27FC236}">
                <a16:creationId xmlns:a16="http://schemas.microsoft.com/office/drawing/2014/main" id="{7A75E3F8-F358-7B9D-027E-FE5721EEC682}"/>
              </a:ext>
            </a:extLst>
          </p:cNvPr>
          <p:cNvSpPr/>
          <p:nvPr/>
        </p:nvSpPr>
        <p:spPr>
          <a:xfrm>
            <a:off x="4152906"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cure to P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TP - MM)</a:t>
            </a:r>
          </a:p>
        </p:txBody>
      </p:sp>
      <p:sp>
        <p:nvSpPr>
          <p:cNvPr id="13" name="Rectangle: Rounded Corners 12">
            <a:extLst>
              <a:ext uri="{FF2B5EF4-FFF2-40B4-BE49-F238E27FC236}">
                <a16:creationId xmlns:a16="http://schemas.microsoft.com/office/drawing/2014/main" id="{CA5AD75C-E3BB-9BA8-4310-5F3D8DE55A9E}"/>
              </a:ext>
            </a:extLst>
          </p:cNvPr>
          <p:cNvSpPr/>
          <p:nvPr/>
        </p:nvSpPr>
        <p:spPr>
          <a:xfrm>
            <a:off x="6140204"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rder to 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TC - SD)</a:t>
            </a:r>
          </a:p>
        </p:txBody>
      </p:sp>
      <p:sp>
        <p:nvSpPr>
          <p:cNvPr id="14" name="Rectangle: Rounded Corners 13">
            <a:extLst>
              <a:ext uri="{FF2B5EF4-FFF2-40B4-BE49-F238E27FC236}">
                <a16:creationId xmlns:a16="http://schemas.microsoft.com/office/drawing/2014/main" id="{01278430-03C5-06C7-63E1-5265FE5F2DC5}"/>
              </a:ext>
            </a:extLst>
          </p:cNvPr>
          <p:cNvSpPr/>
          <p:nvPr/>
        </p:nvSpPr>
        <p:spPr>
          <a:xfrm>
            <a:off x="8127502"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emand to Su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TS – PP,PI)</a:t>
            </a:r>
          </a:p>
        </p:txBody>
      </p:sp>
      <p:sp>
        <p:nvSpPr>
          <p:cNvPr id="22" name="Rectangle 21">
            <a:extLst>
              <a:ext uri="{FF2B5EF4-FFF2-40B4-BE49-F238E27FC236}">
                <a16:creationId xmlns:a16="http://schemas.microsoft.com/office/drawing/2014/main" id="{969376C2-F0FD-A3E8-7EC3-685A0292D653}"/>
              </a:ext>
            </a:extLst>
          </p:cNvPr>
          <p:cNvSpPr/>
          <p:nvPr/>
        </p:nvSpPr>
        <p:spPr>
          <a:xfrm>
            <a:off x="598966" y="2814030"/>
            <a:ext cx="9520069"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L</a:t>
            </a:r>
          </a:p>
        </p:txBody>
      </p:sp>
      <p:sp>
        <p:nvSpPr>
          <p:cNvPr id="23" name="Rectangle 22">
            <a:extLst>
              <a:ext uri="{FF2B5EF4-FFF2-40B4-BE49-F238E27FC236}">
                <a16:creationId xmlns:a16="http://schemas.microsoft.com/office/drawing/2014/main" id="{0601CE1D-855F-F786-657C-7B241EA132D9}"/>
              </a:ext>
            </a:extLst>
          </p:cNvPr>
          <p:cNvSpPr/>
          <p:nvPr/>
        </p:nvSpPr>
        <p:spPr>
          <a:xfrm>
            <a:off x="596671" y="311293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E</a:t>
            </a:r>
          </a:p>
        </p:txBody>
      </p:sp>
      <p:sp>
        <p:nvSpPr>
          <p:cNvPr id="24" name="Rectangle 23">
            <a:extLst>
              <a:ext uri="{FF2B5EF4-FFF2-40B4-BE49-F238E27FC236}">
                <a16:creationId xmlns:a16="http://schemas.microsoft.com/office/drawing/2014/main" id="{2E6A2C67-CFC4-CAC7-EAD6-8E4C4D510CEB}"/>
              </a:ext>
            </a:extLst>
          </p:cNvPr>
          <p:cNvSpPr/>
          <p:nvPr/>
        </p:nvSpPr>
        <p:spPr>
          <a:xfrm>
            <a:off x="596671" y="341465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O</a:t>
            </a:r>
          </a:p>
        </p:txBody>
      </p:sp>
      <p:sp>
        <p:nvSpPr>
          <p:cNvPr id="25" name="Rectangle 24">
            <a:extLst>
              <a:ext uri="{FF2B5EF4-FFF2-40B4-BE49-F238E27FC236}">
                <a16:creationId xmlns:a16="http://schemas.microsoft.com/office/drawing/2014/main" id="{D2F02960-D5DD-A9AC-3CA0-7D97A2462177}"/>
              </a:ext>
            </a:extLst>
          </p:cNvPr>
          <p:cNvSpPr/>
          <p:nvPr/>
        </p:nvSpPr>
        <p:spPr>
          <a:xfrm>
            <a:off x="596671" y="371638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Key User</a:t>
            </a:r>
          </a:p>
        </p:txBody>
      </p:sp>
      <p:sp>
        <p:nvSpPr>
          <p:cNvPr id="27" name="Rectangle 26">
            <a:extLst>
              <a:ext uri="{FF2B5EF4-FFF2-40B4-BE49-F238E27FC236}">
                <a16:creationId xmlns:a16="http://schemas.microsoft.com/office/drawing/2014/main" id="{C24A20E6-1D78-3BC8-F197-7FD5CCC491A1}"/>
              </a:ext>
            </a:extLst>
          </p:cNvPr>
          <p:cNvSpPr/>
          <p:nvPr/>
        </p:nvSpPr>
        <p:spPr>
          <a:xfrm>
            <a:off x="596671" y="401810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CA</a:t>
            </a:r>
          </a:p>
        </p:txBody>
      </p:sp>
      <p:sp>
        <p:nvSpPr>
          <p:cNvPr id="33" name="Rectangle 32">
            <a:extLst>
              <a:ext uri="{FF2B5EF4-FFF2-40B4-BE49-F238E27FC236}">
                <a16:creationId xmlns:a16="http://schemas.microsoft.com/office/drawing/2014/main" id="{85B4DE14-77DE-2095-9CDA-A92CEC3635ED}"/>
              </a:ext>
            </a:extLst>
          </p:cNvPr>
          <p:cNvSpPr/>
          <p:nvPr/>
        </p:nvSpPr>
        <p:spPr>
          <a:xfrm>
            <a:off x="596671" y="4319835"/>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Lead</a:t>
            </a:r>
          </a:p>
        </p:txBody>
      </p:sp>
      <p:sp>
        <p:nvSpPr>
          <p:cNvPr id="34" name="Rectangle 33">
            <a:extLst>
              <a:ext uri="{FF2B5EF4-FFF2-40B4-BE49-F238E27FC236}">
                <a16:creationId xmlns:a16="http://schemas.microsoft.com/office/drawing/2014/main" id="{A855146A-3AAC-4E56-A02B-6BB345165A11}"/>
              </a:ext>
            </a:extLst>
          </p:cNvPr>
          <p:cNvSpPr/>
          <p:nvPr/>
        </p:nvSpPr>
        <p:spPr>
          <a:xfrm>
            <a:off x="596671" y="462156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SAP Expert</a:t>
            </a:r>
          </a:p>
        </p:txBody>
      </p:sp>
      <p:sp>
        <p:nvSpPr>
          <p:cNvPr id="35" name="Rectangle 34">
            <a:extLst>
              <a:ext uri="{FF2B5EF4-FFF2-40B4-BE49-F238E27FC236}">
                <a16:creationId xmlns:a16="http://schemas.microsoft.com/office/drawing/2014/main" id="{C2BB8A7C-6BAF-F28E-3A23-E495BFB1935E}"/>
              </a:ext>
            </a:extLst>
          </p:cNvPr>
          <p:cNvSpPr/>
          <p:nvPr/>
        </p:nvSpPr>
        <p:spPr>
          <a:xfrm>
            <a:off x="596671" y="492328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Team</a:t>
            </a:r>
          </a:p>
        </p:txBody>
      </p:sp>
      <p:sp>
        <p:nvSpPr>
          <p:cNvPr id="38" name="Rectangle 37">
            <a:extLst>
              <a:ext uri="{FF2B5EF4-FFF2-40B4-BE49-F238E27FC236}">
                <a16:creationId xmlns:a16="http://schemas.microsoft.com/office/drawing/2014/main" id="{E982D813-5E46-F729-64C3-78F220EF4188}"/>
              </a:ext>
            </a:extLst>
          </p:cNvPr>
          <p:cNvSpPr/>
          <p:nvPr/>
        </p:nvSpPr>
        <p:spPr>
          <a:xfrm>
            <a:off x="596671" y="522501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ata Migration Team</a:t>
            </a:r>
          </a:p>
        </p:txBody>
      </p:sp>
      <p:sp>
        <p:nvSpPr>
          <p:cNvPr id="41" name="Rectangle 40">
            <a:extLst>
              <a:ext uri="{FF2B5EF4-FFF2-40B4-BE49-F238E27FC236}">
                <a16:creationId xmlns:a16="http://schemas.microsoft.com/office/drawing/2014/main" id="{FBA9B523-D0D9-5B31-0DCA-C57DE1A4F785}"/>
              </a:ext>
            </a:extLst>
          </p:cNvPr>
          <p:cNvSpPr/>
          <p:nvPr/>
        </p:nvSpPr>
        <p:spPr>
          <a:xfrm>
            <a:off x="596671" y="552673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Testing Team</a:t>
            </a:r>
          </a:p>
        </p:txBody>
      </p:sp>
      <p:sp>
        <p:nvSpPr>
          <p:cNvPr id="42" name="Rectangle 41">
            <a:extLst>
              <a:ext uri="{FF2B5EF4-FFF2-40B4-BE49-F238E27FC236}">
                <a16:creationId xmlns:a16="http://schemas.microsoft.com/office/drawing/2014/main" id="{B56B3108-2218-B288-767B-8F4A775BF4F5}"/>
              </a:ext>
            </a:extLst>
          </p:cNvPr>
          <p:cNvSpPr/>
          <p:nvPr/>
        </p:nvSpPr>
        <p:spPr>
          <a:xfrm>
            <a:off x="596671" y="5828460"/>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evelopment Team</a:t>
            </a:r>
          </a:p>
        </p:txBody>
      </p:sp>
      <p:cxnSp>
        <p:nvCxnSpPr>
          <p:cNvPr id="58" name="Connector: Elbow 57">
            <a:extLst>
              <a:ext uri="{FF2B5EF4-FFF2-40B4-BE49-F238E27FC236}">
                <a16:creationId xmlns:a16="http://schemas.microsoft.com/office/drawing/2014/main" id="{E5742A2E-1D23-5AAF-698D-3730AC2A2060}"/>
              </a:ext>
            </a:extLst>
          </p:cNvPr>
          <p:cNvCxnSpPr>
            <a:cxnSpLocks/>
            <a:stCxn id="11" idx="0"/>
            <a:endCxn id="8" idx="2"/>
          </p:cNvCxnSpPr>
          <p:nvPr/>
        </p:nvCxnSpPr>
        <p:spPr>
          <a:xfrm rot="5400000" flipH="1" flipV="1">
            <a:off x="4727883" y="500277"/>
            <a:ext cx="353363" cy="35384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BA4F3260-A8D7-444F-F287-FA35AE3294E3}"/>
              </a:ext>
            </a:extLst>
          </p:cNvPr>
          <p:cNvCxnSpPr>
            <a:cxnSpLocks/>
            <a:stCxn id="12" idx="0"/>
            <a:endCxn id="8" idx="2"/>
          </p:cNvCxnSpPr>
          <p:nvPr/>
        </p:nvCxnSpPr>
        <p:spPr>
          <a:xfrm rot="5400000" flipH="1" flipV="1">
            <a:off x="5723375" y="1493315"/>
            <a:ext cx="350909" cy="15499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3C99F0F8-185F-DBB3-795D-05BFCEECC2DA}"/>
              </a:ext>
            </a:extLst>
          </p:cNvPr>
          <p:cNvCxnSpPr>
            <a:cxnSpLocks/>
            <a:stCxn id="13" idx="0"/>
            <a:endCxn id="8" idx="2"/>
          </p:cNvCxnSpPr>
          <p:nvPr/>
        </p:nvCxnSpPr>
        <p:spPr>
          <a:xfrm rot="16200000" flipV="1">
            <a:off x="6717025" y="2049628"/>
            <a:ext cx="350909" cy="4373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43D9DA43-35EA-B096-AA30-FD53400DE767}"/>
              </a:ext>
            </a:extLst>
          </p:cNvPr>
          <p:cNvCxnSpPr>
            <a:cxnSpLocks/>
            <a:stCxn id="14" idx="0"/>
            <a:endCxn id="8" idx="2"/>
          </p:cNvCxnSpPr>
          <p:nvPr/>
        </p:nvCxnSpPr>
        <p:spPr>
          <a:xfrm rot="16200000" flipV="1">
            <a:off x="7710674" y="1055979"/>
            <a:ext cx="350909" cy="242463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8001AC96-F43E-B3A9-8028-3707DE7A8279}"/>
              </a:ext>
            </a:extLst>
          </p:cNvPr>
          <p:cNvSpPr/>
          <p:nvPr/>
        </p:nvSpPr>
        <p:spPr>
          <a:xfrm>
            <a:off x="10250115" y="2400970"/>
            <a:ext cx="1473456" cy="11796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a:solidFill>
                  <a:sysClr val="windowText" lastClr="000000"/>
                </a:solidFill>
              </a:rPr>
              <a:t>Change Management Office</a:t>
            </a:r>
          </a:p>
        </p:txBody>
      </p:sp>
      <p:sp>
        <p:nvSpPr>
          <p:cNvPr id="84" name="Rectangle: Rounded Corners 83">
            <a:extLst>
              <a:ext uri="{FF2B5EF4-FFF2-40B4-BE49-F238E27FC236}">
                <a16:creationId xmlns:a16="http://schemas.microsoft.com/office/drawing/2014/main" id="{F88EF435-B3A1-F99D-6345-7674E143F473}"/>
              </a:ext>
            </a:extLst>
          </p:cNvPr>
          <p:cNvSpPr/>
          <p:nvPr/>
        </p:nvSpPr>
        <p:spPr>
          <a:xfrm>
            <a:off x="10404909" y="2751870"/>
            <a:ext cx="1187583" cy="67713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egional Change Lead</a:t>
            </a:r>
          </a:p>
        </p:txBody>
      </p:sp>
      <p:cxnSp>
        <p:nvCxnSpPr>
          <p:cNvPr id="86" name="Connector: Elbow 85">
            <a:extLst>
              <a:ext uri="{FF2B5EF4-FFF2-40B4-BE49-F238E27FC236}">
                <a16:creationId xmlns:a16="http://schemas.microsoft.com/office/drawing/2014/main" id="{B41972BD-6609-6E11-6FB7-F19A3A756A68}"/>
              </a:ext>
            </a:extLst>
          </p:cNvPr>
          <p:cNvCxnSpPr>
            <a:cxnSpLocks/>
            <a:stCxn id="83" idx="0"/>
            <a:endCxn id="8" idx="2"/>
          </p:cNvCxnSpPr>
          <p:nvPr/>
        </p:nvCxnSpPr>
        <p:spPr>
          <a:xfrm rot="16200000" flipV="1">
            <a:off x="8676263" y="90390"/>
            <a:ext cx="308129" cy="43130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44DA8A1-562B-F359-9288-C3C5329F84E4}"/>
              </a:ext>
            </a:extLst>
          </p:cNvPr>
          <p:cNvCxnSpPr>
            <a:cxnSpLocks/>
            <a:stCxn id="7" idx="0"/>
            <a:endCxn id="109" idx="2"/>
          </p:cNvCxnSpPr>
          <p:nvPr/>
        </p:nvCxnSpPr>
        <p:spPr>
          <a:xfrm flipH="1" flipV="1">
            <a:off x="6673811" y="1115900"/>
            <a:ext cx="1443" cy="12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1217FE4-102B-DF02-DD95-145A40E632B7}"/>
              </a:ext>
            </a:extLst>
          </p:cNvPr>
          <p:cNvCxnSpPr>
            <a:cxnSpLocks/>
            <a:stCxn id="8" idx="0"/>
            <a:endCxn id="7" idx="2"/>
          </p:cNvCxnSpPr>
          <p:nvPr/>
        </p:nvCxnSpPr>
        <p:spPr>
          <a:xfrm flipV="1">
            <a:off x="6673811" y="1604370"/>
            <a:ext cx="1443" cy="122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FB248E0-6D48-BB62-C53C-02EA00220295}"/>
              </a:ext>
            </a:extLst>
          </p:cNvPr>
          <p:cNvSpPr/>
          <p:nvPr/>
        </p:nvSpPr>
        <p:spPr>
          <a:xfrm>
            <a:off x="2164376" y="75014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Regional Program Director</a:t>
            </a:r>
          </a:p>
        </p:txBody>
      </p:sp>
      <p:sp>
        <p:nvSpPr>
          <p:cNvPr id="5" name="Rectangle 4">
            <a:extLst>
              <a:ext uri="{FF2B5EF4-FFF2-40B4-BE49-F238E27FC236}">
                <a16:creationId xmlns:a16="http://schemas.microsoft.com/office/drawing/2014/main" id="{ED5BF88F-244F-6DFC-AD18-CB52B1845EA4}"/>
              </a:ext>
            </a:extLst>
          </p:cNvPr>
          <p:cNvSpPr/>
          <p:nvPr/>
        </p:nvSpPr>
        <p:spPr>
          <a:xfrm>
            <a:off x="2219741"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6" name="Rectangle 5">
            <a:extLst>
              <a:ext uri="{FF2B5EF4-FFF2-40B4-BE49-F238E27FC236}">
                <a16:creationId xmlns:a16="http://schemas.microsoft.com/office/drawing/2014/main" id="{BE670DDD-267D-636A-2C0E-F4BA28E4E468}"/>
              </a:ext>
            </a:extLst>
          </p:cNvPr>
          <p:cNvSpPr/>
          <p:nvPr/>
        </p:nvSpPr>
        <p:spPr>
          <a:xfrm>
            <a:off x="4192097" y="2751871"/>
            <a:ext cx="1847327" cy="3386118"/>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9" name="Rectangle 8">
            <a:extLst>
              <a:ext uri="{FF2B5EF4-FFF2-40B4-BE49-F238E27FC236}">
                <a16:creationId xmlns:a16="http://schemas.microsoft.com/office/drawing/2014/main" id="{7B4EAAB2-A0A3-D165-5020-65DEDF6889B8}"/>
              </a:ext>
            </a:extLst>
          </p:cNvPr>
          <p:cNvSpPr/>
          <p:nvPr/>
        </p:nvSpPr>
        <p:spPr>
          <a:xfrm>
            <a:off x="6185283"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5" name="Rectangle 14">
            <a:extLst>
              <a:ext uri="{FF2B5EF4-FFF2-40B4-BE49-F238E27FC236}">
                <a16:creationId xmlns:a16="http://schemas.microsoft.com/office/drawing/2014/main" id="{5D35EE44-8D4C-7480-0305-66599D98700F}"/>
              </a:ext>
            </a:extLst>
          </p:cNvPr>
          <p:cNvSpPr/>
          <p:nvPr/>
        </p:nvSpPr>
        <p:spPr>
          <a:xfrm>
            <a:off x="8180297"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7" name="Rectangle 16">
            <a:extLst>
              <a:ext uri="{FF2B5EF4-FFF2-40B4-BE49-F238E27FC236}">
                <a16:creationId xmlns:a16="http://schemas.microsoft.com/office/drawing/2014/main" id="{F2C8522C-1B77-81CD-46D9-1F4E6BB1929B}"/>
              </a:ext>
            </a:extLst>
          </p:cNvPr>
          <p:cNvSpPr/>
          <p:nvPr/>
        </p:nvSpPr>
        <p:spPr>
          <a:xfrm>
            <a:off x="2319576" y="925416"/>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7" name="Rectangle 36">
            <a:extLst>
              <a:ext uri="{FF2B5EF4-FFF2-40B4-BE49-F238E27FC236}">
                <a16:creationId xmlns:a16="http://schemas.microsoft.com/office/drawing/2014/main" id="{5A5B9C94-25C9-04E9-56B4-A71733C281B7}"/>
              </a:ext>
            </a:extLst>
          </p:cNvPr>
          <p:cNvSpPr/>
          <p:nvPr/>
        </p:nvSpPr>
        <p:spPr>
          <a:xfrm>
            <a:off x="2319576" y="1408998"/>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9" name="Rectangle 38">
            <a:extLst>
              <a:ext uri="{FF2B5EF4-FFF2-40B4-BE49-F238E27FC236}">
                <a16:creationId xmlns:a16="http://schemas.microsoft.com/office/drawing/2014/main" id="{FAD8652D-A490-7FF4-D082-F4198BCF47F6}"/>
              </a:ext>
            </a:extLst>
          </p:cNvPr>
          <p:cNvSpPr/>
          <p:nvPr/>
        </p:nvSpPr>
        <p:spPr>
          <a:xfrm>
            <a:off x="2319576" y="1907113"/>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16" name="TextBox 15">
            <a:extLst>
              <a:ext uri="{FF2B5EF4-FFF2-40B4-BE49-F238E27FC236}">
                <a16:creationId xmlns:a16="http://schemas.microsoft.com/office/drawing/2014/main" id="{29DDB0C1-5A0A-E9C5-9E84-485F23C7D100}"/>
              </a:ext>
            </a:extLst>
          </p:cNvPr>
          <p:cNvSpPr txBox="1"/>
          <p:nvPr/>
        </p:nvSpPr>
        <p:spPr>
          <a:xfrm>
            <a:off x="2398591" y="1876258"/>
            <a:ext cx="843915" cy="200055"/>
          </a:xfrm>
          <a:prstGeom prst="rect">
            <a:avLst/>
          </a:prstGeom>
          <a:noFill/>
        </p:spPr>
        <p:txBody>
          <a:bodyPr wrap="square">
            <a:spAutoFit/>
          </a:bodyPr>
          <a:lstStyle/>
          <a:p>
            <a:r>
              <a:rPr lang="en-US" sz="700" b="1" dirty="0">
                <a:solidFill>
                  <a:schemeClr val="accent1"/>
                </a:solidFill>
                <a:latin typeface="+mj-lt"/>
              </a:rPr>
              <a:t>Cheng Long</a:t>
            </a:r>
          </a:p>
        </p:txBody>
      </p:sp>
      <p:sp>
        <p:nvSpPr>
          <p:cNvPr id="18" name="TextBox 17">
            <a:extLst>
              <a:ext uri="{FF2B5EF4-FFF2-40B4-BE49-F238E27FC236}">
                <a16:creationId xmlns:a16="http://schemas.microsoft.com/office/drawing/2014/main" id="{48D0A457-9440-FD52-2255-C6B16E1E613B}"/>
              </a:ext>
            </a:extLst>
          </p:cNvPr>
          <p:cNvSpPr txBox="1"/>
          <p:nvPr/>
        </p:nvSpPr>
        <p:spPr>
          <a:xfrm>
            <a:off x="2177979" y="4343338"/>
            <a:ext cx="1088964" cy="200055"/>
          </a:xfrm>
          <a:prstGeom prst="rect">
            <a:avLst/>
          </a:prstGeom>
          <a:noFill/>
        </p:spPr>
        <p:txBody>
          <a:bodyPr wrap="square">
            <a:spAutoFit/>
          </a:bodyPr>
          <a:lstStyle/>
          <a:p>
            <a:r>
              <a:rPr lang="en-US" sz="700" b="1" dirty="0">
                <a:solidFill>
                  <a:schemeClr val="accent1"/>
                </a:solidFill>
                <a:latin typeface="+mj-lt"/>
              </a:rPr>
              <a:t>Wang, </a:t>
            </a:r>
            <a:r>
              <a:rPr lang="en-US" sz="700" b="1" dirty="0" err="1">
                <a:solidFill>
                  <a:schemeClr val="accent1"/>
                </a:solidFill>
                <a:latin typeface="+mj-lt"/>
              </a:rPr>
              <a:t>Rongrong</a:t>
            </a:r>
            <a:endParaRPr lang="en-US" sz="700" b="1" dirty="0">
              <a:solidFill>
                <a:schemeClr val="accent1"/>
              </a:solidFill>
              <a:latin typeface="+mj-lt"/>
            </a:endParaRPr>
          </a:p>
        </p:txBody>
      </p:sp>
      <p:sp>
        <p:nvSpPr>
          <p:cNvPr id="20" name="TextBox 19">
            <a:extLst>
              <a:ext uri="{FF2B5EF4-FFF2-40B4-BE49-F238E27FC236}">
                <a16:creationId xmlns:a16="http://schemas.microsoft.com/office/drawing/2014/main" id="{B0FD2FED-862F-D3AF-F8B8-E2EF7F208C99}"/>
              </a:ext>
            </a:extLst>
          </p:cNvPr>
          <p:cNvSpPr txBox="1"/>
          <p:nvPr/>
        </p:nvSpPr>
        <p:spPr>
          <a:xfrm>
            <a:off x="10624692" y="2920136"/>
            <a:ext cx="724301" cy="200055"/>
          </a:xfrm>
          <a:prstGeom prst="rect">
            <a:avLst/>
          </a:prstGeom>
          <a:noFill/>
        </p:spPr>
        <p:txBody>
          <a:bodyPr wrap="square">
            <a:spAutoFit/>
          </a:bodyPr>
          <a:lstStyle/>
          <a:p>
            <a:r>
              <a:rPr lang="en-US" sz="700" b="1" dirty="0">
                <a:solidFill>
                  <a:schemeClr val="bg1"/>
                </a:solidFill>
                <a:latin typeface="+mj-lt"/>
              </a:rPr>
              <a:t>Dylan Jiao</a:t>
            </a:r>
          </a:p>
        </p:txBody>
      </p:sp>
      <p:sp>
        <p:nvSpPr>
          <p:cNvPr id="26" name="TextBox 25">
            <a:extLst>
              <a:ext uri="{FF2B5EF4-FFF2-40B4-BE49-F238E27FC236}">
                <a16:creationId xmlns:a16="http://schemas.microsoft.com/office/drawing/2014/main" id="{DF506176-F1D1-2F52-1791-18F066F57A77}"/>
              </a:ext>
            </a:extLst>
          </p:cNvPr>
          <p:cNvSpPr txBox="1"/>
          <p:nvPr/>
        </p:nvSpPr>
        <p:spPr>
          <a:xfrm>
            <a:off x="4284531" y="4333897"/>
            <a:ext cx="695425" cy="200055"/>
          </a:xfrm>
          <a:prstGeom prst="rect">
            <a:avLst/>
          </a:prstGeom>
          <a:noFill/>
        </p:spPr>
        <p:txBody>
          <a:bodyPr wrap="square">
            <a:spAutoFit/>
          </a:bodyPr>
          <a:lstStyle/>
          <a:p>
            <a:r>
              <a:rPr lang="en-US" sz="700" b="1" dirty="0">
                <a:solidFill>
                  <a:schemeClr val="accent1"/>
                </a:solidFill>
                <a:latin typeface="+mj-lt"/>
              </a:rPr>
              <a:t>Fu </a:t>
            </a:r>
            <a:r>
              <a:rPr lang="en-US" sz="700" b="1" dirty="0" err="1">
                <a:solidFill>
                  <a:schemeClr val="accent1"/>
                </a:solidFill>
                <a:latin typeface="+mj-lt"/>
              </a:rPr>
              <a:t>Tijun</a:t>
            </a:r>
            <a:endParaRPr lang="en-US" sz="700" b="1" dirty="0">
              <a:solidFill>
                <a:schemeClr val="accent1"/>
              </a:solidFill>
              <a:latin typeface="+mj-lt"/>
            </a:endParaRPr>
          </a:p>
        </p:txBody>
      </p:sp>
      <p:sp>
        <p:nvSpPr>
          <p:cNvPr id="29" name="TextBox 28">
            <a:extLst>
              <a:ext uri="{FF2B5EF4-FFF2-40B4-BE49-F238E27FC236}">
                <a16:creationId xmlns:a16="http://schemas.microsoft.com/office/drawing/2014/main" id="{C37161A2-F617-14DF-9E25-73BADBEFB1F7}"/>
              </a:ext>
            </a:extLst>
          </p:cNvPr>
          <p:cNvSpPr txBox="1"/>
          <p:nvPr/>
        </p:nvSpPr>
        <p:spPr>
          <a:xfrm>
            <a:off x="3253938" y="4343908"/>
            <a:ext cx="791678" cy="200055"/>
          </a:xfrm>
          <a:prstGeom prst="rect">
            <a:avLst/>
          </a:prstGeom>
          <a:noFill/>
        </p:spPr>
        <p:txBody>
          <a:bodyPr wrap="square">
            <a:spAutoFit/>
          </a:bodyPr>
          <a:lstStyle/>
          <a:p>
            <a:r>
              <a:rPr lang="en-US" sz="700" b="1" dirty="0">
                <a:solidFill>
                  <a:schemeClr val="accent1"/>
                </a:solidFill>
                <a:latin typeface="+mj-lt"/>
              </a:rPr>
              <a:t>Jiang Nan</a:t>
            </a:r>
          </a:p>
        </p:txBody>
      </p:sp>
      <p:sp>
        <p:nvSpPr>
          <p:cNvPr id="31" name="TextBox 30">
            <a:extLst>
              <a:ext uri="{FF2B5EF4-FFF2-40B4-BE49-F238E27FC236}">
                <a16:creationId xmlns:a16="http://schemas.microsoft.com/office/drawing/2014/main" id="{7CF1686E-82EC-E4B9-7368-7F217294A99C}"/>
              </a:ext>
            </a:extLst>
          </p:cNvPr>
          <p:cNvSpPr txBox="1"/>
          <p:nvPr/>
        </p:nvSpPr>
        <p:spPr>
          <a:xfrm>
            <a:off x="6210198" y="4344429"/>
            <a:ext cx="560672" cy="200055"/>
          </a:xfrm>
          <a:prstGeom prst="rect">
            <a:avLst/>
          </a:prstGeom>
          <a:noFill/>
        </p:spPr>
        <p:txBody>
          <a:bodyPr wrap="square">
            <a:spAutoFit/>
          </a:bodyPr>
          <a:lstStyle/>
          <a:p>
            <a:r>
              <a:rPr lang="en-US" sz="700" b="1" dirty="0">
                <a:solidFill>
                  <a:schemeClr val="accent1"/>
                </a:solidFill>
                <a:latin typeface="+mj-lt"/>
              </a:rPr>
              <a:t>Liu Qin</a:t>
            </a:r>
          </a:p>
        </p:txBody>
      </p:sp>
      <p:sp>
        <p:nvSpPr>
          <p:cNvPr id="36" name="TextBox 35">
            <a:extLst>
              <a:ext uri="{FF2B5EF4-FFF2-40B4-BE49-F238E27FC236}">
                <a16:creationId xmlns:a16="http://schemas.microsoft.com/office/drawing/2014/main" id="{3319F834-CC99-5C06-126D-23D8DDAA261E}"/>
              </a:ext>
            </a:extLst>
          </p:cNvPr>
          <p:cNvSpPr txBox="1"/>
          <p:nvPr/>
        </p:nvSpPr>
        <p:spPr>
          <a:xfrm>
            <a:off x="4318712" y="1882599"/>
            <a:ext cx="965557" cy="200055"/>
          </a:xfrm>
          <a:prstGeom prst="rect">
            <a:avLst/>
          </a:prstGeom>
          <a:noFill/>
        </p:spPr>
        <p:txBody>
          <a:bodyPr wrap="square">
            <a:spAutoFit/>
          </a:bodyPr>
          <a:lstStyle/>
          <a:p>
            <a:r>
              <a:rPr lang="en-US" sz="700" b="1" dirty="0">
                <a:solidFill>
                  <a:schemeClr val="accent1"/>
                </a:solidFill>
                <a:latin typeface="+mj-lt"/>
              </a:rPr>
              <a:t>Chen, </a:t>
            </a:r>
            <a:r>
              <a:rPr lang="en-US" sz="700" b="1" dirty="0" err="1">
                <a:solidFill>
                  <a:schemeClr val="accent1"/>
                </a:solidFill>
                <a:latin typeface="+mj-lt"/>
              </a:rPr>
              <a:t>Sauwei</a:t>
            </a:r>
            <a:endParaRPr lang="en-US" sz="700" b="1" dirty="0">
              <a:solidFill>
                <a:schemeClr val="accent1"/>
              </a:solidFill>
              <a:latin typeface="+mj-lt"/>
            </a:endParaRPr>
          </a:p>
        </p:txBody>
      </p:sp>
      <p:sp>
        <p:nvSpPr>
          <p:cNvPr id="43" name="TextBox 42">
            <a:extLst>
              <a:ext uri="{FF2B5EF4-FFF2-40B4-BE49-F238E27FC236}">
                <a16:creationId xmlns:a16="http://schemas.microsoft.com/office/drawing/2014/main" id="{D41D5C62-6DC1-DDBC-259D-D9F1DF31B57E}"/>
              </a:ext>
            </a:extLst>
          </p:cNvPr>
          <p:cNvSpPr txBox="1"/>
          <p:nvPr/>
        </p:nvSpPr>
        <p:spPr>
          <a:xfrm>
            <a:off x="3396263" y="1876051"/>
            <a:ext cx="1091371" cy="200055"/>
          </a:xfrm>
          <a:prstGeom prst="rect">
            <a:avLst/>
          </a:prstGeom>
          <a:noFill/>
        </p:spPr>
        <p:txBody>
          <a:bodyPr wrap="square">
            <a:spAutoFit/>
          </a:bodyPr>
          <a:lstStyle/>
          <a:p>
            <a:r>
              <a:rPr lang="en-US" sz="700" b="1" dirty="0">
                <a:solidFill>
                  <a:schemeClr val="accent1"/>
                </a:solidFill>
                <a:latin typeface="+mj-lt"/>
              </a:rPr>
              <a:t>Zhou, Liang</a:t>
            </a:r>
          </a:p>
        </p:txBody>
      </p:sp>
      <p:sp>
        <p:nvSpPr>
          <p:cNvPr id="45" name="TextBox 44">
            <a:extLst>
              <a:ext uri="{FF2B5EF4-FFF2-40B4-BE49-F238E27FC236}">
                <a16:creationId xmlns:a16="http://schemas.microsoft.com/office/drawing/2014/main" id="{8910DD83-DEEC-DD8E-E7DD-51A838800DE6}"/>
              </a:ext>
            </a:extLst>
          </p:cNvPr>
          <p:cNvSpPr txBox="1"/>
          <p:nvPr/>
        </p:nvSpPr>
        <p:spPr>
          <a:xfrm>
            <a:off x="8180297" y="4343288"/>
            <a:ext cx="1464217" cy="200055"/>
          </a:xfrm>
          <a:prstGeom prst="rect">
            <a:avLst/>
          </a:prstGeom>
          <a:noFill/>
        </p:spPr>
        <p:txBody>
          <a:bodyPr wrap="square">
            <a:spAutoFit/>
          </a:bodyPr>
          <a:lstStyle/>
          <a:p>
            <a:r>
              <a:rPr lang="en-US" sz="700" b="1" dirty="0">
                <a:solidFill>
                  <a:schemeClr val="accent1"/>
                </a:solidFill>
                <a:latin typeface="+mj-lt"/>
              </a:rPr>
              <a:t>Wu, </a:t>
            </a:r>
            <a:r>
              <a:rPr lang="en-US" sz="700" b="1" dirty="0" err="1">
                <a:solidFill>
                  <a:schemeClr val="accent1"/>
                </a:solidFill>
                <a:latin typeface="+mj-lt"/>
              </a:rPr>
              <a:t>Guangfeng</a:t>
            </a:r>
            <a:r>
              <a:rPr lang="en-US" sz="700" b="1" dirty="0">
                <a:solidFill>
                  <a:schemeClr val="accent1"/>
                </a:solidFill>
                <a:latin typeface="+mj-lt"/>
              </a:rPr>
              <a:t> </a:t>
            </a:r>
          </a:p>
        </p:txBody>
      </p:sp>
    </p:spTree>
    <p:extLst>
      <p:ext uri="{BB962C8B-B14F-4D97-AF65-F5344CB8AC3E}">
        <p14:creationId xmlns:p14="http://schemas.microsoft.com/office/powerpoint/2010/main" val="2191252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CF1681C-DBE9-14DC-016B-1C796F4104F6}"/>
              </a:ext>
            </a:extLst>
          </p:cNvPr>
          <p:cNvSpPr/>
          <p:nvPr/>
        </p:nvSpPr>
        <p:spPr>
          <a:xfrm>
            <a:off x="481263" y="2400970"/>
            <a:ext cx="9683015" cy="39632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Solution Delivery Team</a:t>
            </a:r>
          </a:p>
        </p:txBody>
      </p:sp>
      <p:sp>
        <p:nvSpPr>
          <p:cNvPr id="54" name="Rectangle 53">
            <a:extLst>
              <a:ext uri="{FF2B5EF4-FFF2-40B4-BE49-F238E27FC236}">
                <a16:creationId xmlns:a16="http://schemas.microsoft.com/office/drawing/2014/main" id="{DC05A570-0081-15A3-BD9F-6FD35C7ECCED}"/>
              </a:ext>
            </a:extLst>
          </p:cNvPr>
          <p:cNvSpPr/>
          <p:nvPr/>
        </p:nvSpPr>
        <p:spPr>
          <a:xfrm>
            <a:off x="481263" y="720011"/>
            <a:ext cx="11242308" cy="14591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Regional Governance </a:t>
            </a:r>
          </a:p>
          <a:p>
            <a:r>
              <a:rPr lang="en-US" sz="900" b="1" dirty="0">
                <a:solidFill>
                  <a:schemeClr val="tx1"/>
                </a:solidFill>
              </a:rPr>
              <a:t>and Management</a:t>
            </a:r>
          </a:p>
        </p:txBody>
      </p:sp>
      <p:sp>
        <p:nvSpPr>
          <p:cNvPr id="2" name="Slide Number Placeholder 1">
            <a:extLst>
              <a:ext uri="{FF2B5EF4-FFF2-40B4-BE49-F238E27FC236}">
                <a16:creationId xmlns:a16="http://schemas.microsoft.com/office/drawing/2014/main" id="{AC692E9A-ECBD-6069-1004-7CA6960932E4}"/>
              </a:ext>
            </a:extLst>
          </p:cNvPr>
          <p:cNvSpPr>
            <a:spLocks noGrp="1"/>
          </p:cNvSpPr>
          <p:nvPr>
            <p:ph type="sldNum" sz="quarter" idx="4"/>
          </p:nvPr>
        </p:nvSpPr>
        <p:spPr/>
        <p:txBody>
          <a:bodyPr/>
          <a:lstStyle/>
          <a:p>
            <a:fld id="{48394356-8693-4048-8EAF-2BF05B04AA80}" type="slidenum">
              <a:rPr lang="ja-JP" altLang="en-US" smtClean="0"/>
              <a:pPr/>
              <a:t>19</a:t>
            </a:fld>
            <a:endParaRPr lang="ja-JP" altLang="en-US"/>
          </a:p>
        </p:txBody>
      </p:sp>
      <p:sp>
        <p:nvSpPr>
          <p:cNvPr id="3" name="Footer Placeholder 2">
            <a:extLst>
              <a:ext uri="{FF2B5EF4-FFF2-40B4-BE49-F238E27FC236}">
                <a16:creationId xmlns:a16="http://schemas.microsoft.com/office/drawing/2014/main" id="{21AB6FE0-4695-4224-EBB4-4F4D349994E5}"/>
              </a:ext>
            </a:extLst>
          </p:cNvPr>
          <p:cNvSpPr>
            <a:spLocks noGrp="1"/>
          </p:cNvSpPr>
          <p:nvPr>
            <p:ph type="ftr" sz="quarter" idx="3"/>
          </p:nvPr>
        </p:nvSpPr>
        <p:spPr/>
        <p:txBody>
          <a:bodyPr/>
          <a:lstStyle/>
          <a:p>
            <a:r>
              <a:rPr lang="en-US" altLang="ja-JP"/>
              <a:t>Mitsubishi Chemical Group   </a:t>
            </a:r>
            <a:endParaRPr lang="ja-JP" altLang="en-US"/>
          </a:p>
        </p:txBody>
      </p:sp>
      <p:sp>
        <p:nvSpPr>
          <p:cNvPr id="4" name="Title 3">
            <a:extLst>
              <a:ext uri="{FF2B5EF4-FFF2-40B4-BE49-F238E27FC236}">
                <a16:creationId xmlns:a16="http://schemas.microsoft.com/office/drawing/2014/main" id="{9EF1C545-629E-E62A-023F-9F5C0203765B}"/>
              </a:ext>
            </a:extLst>
          </p:cNvPr>
          <p:cNvSpPr>
            <a:spLocks noGrp="1"/>
          </p:cNvSpPr>
          <p:nvPr>
            <p:ph type="title"/>
          </p:nvPr>
        </p:nvSpPr>
        <p:spPr/>
        <p:txBody>
          <a:bodyPr/>
          <a:lstStyle/>
          <a:p>
            <a:r>
              <a:rPr lang="en-US" dirty="0" err="1"/>
              <a:t>Mone</a:t>
            </a:r>
            <a:r>
              <a:rPr lang="en-US" dirty="0"/>
              <a:t>-G Regional Organizational Structure - Germany</a:t>
            </a:r>
          </a:p>
        </p:txBody>
      </p:sp>
      <p:sp>
        <p:nvSpPr>
          <p:cNvPr id="7" name="Rectangle 6">
            <a:extLst>
              <a:ext uri="{FF2B5EF4-FFF2-40B4-BE49-F238E27FC236}">
                <a16:creationId xmlns:a16="http://schemas.microsoft.com/office/drawing/2014/main" id="{2BCEA343-FAC5-67B8-5CD6-97198B4D3ACD}"/>
              </a:ext>
            </a:extLst>
          </p:cNvPr>
          <p:cNvSpPr/>
          <p:nvPr/>
        </p:nvSpPr>
        <p:spPr>
          <a:xfrm>
            <a:off x="2165819" y="123861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Local Steering Committee Board</a:t>
            </a:r>
          </a:p>
        </p:txBody>
      </p:sp>
      <p:sp>
        <p:nvSpPr>
          <p:cNvPr id="8" name="Rectangle 7">
            <a:extLst>
              <a:ext uri="{FF2B5EF4-FFF2-40B4-BE49-F238E27FC236}">
                <a16:creationId xmlns:a16="http://schemas.microsoft.com/office/drawing/2014/main" id="{18F583EC-6E50-DC46-A66E-37F65223E252}"/>
              </a:ext>
            </a:extLst>
          </p:cNvPr>
          <p:cNvSpPr/>
          <p:nvPr/>
        </p:nvSpPr>
        <p:spPr>
          <a:xfrm>
            <a:off x="2165819" y="1727081"/>
            <a:ext cx="9015984"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j-lt"/>
                <a:ea typeface="+mn-ea"/>
                <a:cs typeface="Calibri" panose="020F0502020204030204" pitchFamily="34" charset="0"/>
              </a:rPr>
              <a:t>Program Management</a:t>
            </a:r>
          </a:p>
        </p:txBody>
      </p:sp>
      <p:sp>
        <p:nvSpPr>
          <p:cNvPr id="11" name="Rectangle: Rounded Corners 10">
            <a:extLst>
              <a:ext uri="{FF2B5EF4-FFF2-40B4-BE49-F238E27FC236}">
                <a16:creationId xmlns:a16="http://schemas.microsoft.com/office/drawing/2014/main" id="{D953E7DD-C8CA-C03D-F19D-D61FEB839035}"/>
              </a:ext>
            </a:extLst>
          </p:cNvPr>
          <p:cNvSpPr/>
          <p:nvPr/>
        </p:nvSpPr>
        <p:spPr>
          <a:xfrm>
            <a:off x="2164376" y="2446204"/>
            <a:ext cx="1941884" cy="377592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e to Man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TM - FICO)</a:t>
            </a:r>
          </a:p>
        </p:txBody>
      </p:sp>
      <p:sp>
        <p:nvSpPr>
          <p:cNvPr id="12" name="Rectangle: Rounded Corners 11">
            <a:extLst>
              <a:ext uri="{FF2B5EF4-FFF2-40B4-BE49-F238E27FC236}">
                <a16:creationId xmlns:a16="http://schemas.microsoft.com/office/drawing/2014/main" id="{7A75E3F8-F358-7B9D-027E-FE5721EEC682}"/>
              </a:ext>
            </a:extLst>
          </p:cNvPr>
          <p:cNvSpPr/>
          <p:nvPr/>
        </p:nvSpPr>
        <p:spPr>
          <a:xfrm>
            <a:off x="4152906"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cure to P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TP - MM)</a:t>
            </a:r>
          </a:p>
        </p:txBody>
      </p:sp>
      <p:sp>
        <p:nvSpPr>
          <p:cNvPr id="13" name="Rectangle: Rounded Corners 12">
            <a:extLst>
              <a:ext uri="{FF2B5EF4-FFF2-40B4-BE49-F238E27FC236}">
                <a16:creationId xmlns:a16="http://schemas.microsoft.com/office/drawing/2014/main" id="{CA5AD75C-E3BB-9BA8-4310-5F3D8DE55A9E}"/>
              </a:ext>
            </a:extLst>
          </p:cNvPr>
          <p:cNvSpPr/>
          <p:nvPr/>
        </p:nvSpPr>
        <p:spPr>
          <a:xfrm>
            <a:off x="6140204"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rder to 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TC - SD)</a:t>
            </a:r>
          </a:p>
        </p:txBody>
      </p:sp>
      <p:sp>
        <p:nvSpPr>
          <p:cNvPr id="14" name="Rectangle: Rounded Corners 13">
            <a:extLst>
              <a:ext uri="{FF2B5EF4-FFF2-40B4-BE49-F238E27FC236}">
                <a16:creationId xmlns:a16="http://schemas.microsoft.com/office/drawing/2014/main" id="{01278430-03C5-06C7-63E1-5265FE5F2DC5}"/>
              </a:ext>
            </a:extLst>
          </p:cNvPr>
          <p:cNvSpPr/>
          <p:nvPr/>
        </p:nvSpPr>
        <p:spPr>
          <a:xfrm>
            <a:off x="8127502"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emand to Su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TS – PP,PI)</a:t>
            </a:r>
          </a:p>
        </p:txBody>
      </p:sp>
      <p:sp>
        <p:nvSpPr>
          <p:cNvPr id="22" name="Rectangle 21">
            <a:extLst>
              <a:ext uri="{FF2B5EF4-FFF2-40B4-BE49-F238E27FC236}">
                <a16:creationId xmlns:a16="http://schemas.microsoft.com/office/drawing/2014/main" id="{969376C2-F0FD-A3E8-7EC3-685A0292D653}"/>
              </a:ext>
            </a:extLst>
          </p:cNvPr>
          <p:cNvSpPr/>
          <p:nvPr/>
        </p:nvSpPr>
        <p:spPr>
          <a:xfrm>
            <a:off x="598966" y="2814030"/>
            <a:ext cx="9520069"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L</a:t>
            </a:r>
          </a:p>
        </p:txBody>
      </p:sp>
      <p:sp>
        <p:nvSpPr>
          <p:cNvPr id="23" name="Rectangle 22">
            <a:extLst>
              <a:ext uri="{FF2B5EF4-FFF2-40B4-BE49-F238E27FC236}">
                <a16:creationId xmlns:a16="http://schemas.microsoft.com/office/drawing/2014/main" id="{0601CE1D-855F-F786-657C-7B241EA132D9}"/>
              </a:ext>
            </a:extLst>
          </p:cNvPr>
          <p:cNvSpPr/>
          <p:nvPr/>
        </p:nvSpPr>
        <p:spPr>
          <a:xfrm>
            <a:off x="596671" y="311293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E</a:t>
            </a:r>
          </a:p>
        </p:txBody>
      </p:sp>
      <p:sp>
        <p:nvSpPr>
          <p:cNvPr id="24" name="Rectangle 23">
            <a:extLst>
              <a:ext uri="{FF2B5EF4-FFF2-40B4-BE49-F238E27FC236}">
                <a16:creationId xmlns:a16="http://schemas.microsoft.com/office/drawing/2014/main" id="{2E6A2C67-CFC4-CAC7-EAD6-8E4C4D510CEB}"/>
              </a:ext>
            </a:extLst>
          </p:cNvPr>
          <p:cNvSpPr/>
          <p:nvPr/>
        </p:nvSpPr>
        <p:spPr>
          <a:xfrm>
            <a:off x="596671" y="341465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O</a:t>
            </a:r>
          </a:p>
        </p:txBody>
      </p:sp>
      <p:sp>
        <p:nvSpPr>
          <p:cNvPr id="25" name="Rectangle 24">
            <a:extLst>
              <a:ext uri="{FF2B5EF4-FFF2-40B4-BE49-F238E27FC236}">
                <a16:creationId xmlns:a16="http://schemas.microsoft.com/office/drawing/2014/main" id="{D2F02960-D5DD-A9AC-3CA0-7D97A2462177}"/>
              </a:ext>
            </a:extLst>
          </p:cNvPr>
          <p:cNvSpPr/>
          <p:nvPr/>
        </p:nvSpPr>
        <p:spPr>
          <a:xfrm>
            <a:off x="596671" y="371638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Key User</a:t>
            </a:r>
          </a:p>
        </p:txBody>
      </p:sp>
      <p:sp>
        <p:nvSpPr>
          <p:cNvPr id="27" name="Rectangle 26">
            <a:extLst>
              <a:ext uri="{FF2B5EF4-FFF2-40B4-BE49-F238E27FC236}">
                <a16:creationId xmlns:a16="http://schemas.microsoft.com/office/drawing/2014/main" id="{C24A20E6-1D78-3BC8-F197-7FD5CCC491A1}"/>
              </a:ext>
            </a:extLst>
          </p:cNvPr>
          <p:cNvSpPr/>
          <p:nvPr/>
        </p:nvSpPr>
        <p:spPr>
          <a:xfrm>
            <a:off x="596671" y="401810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CA</a:t>
            </a:r>
          </a:p>
        </p:txBody>
      </p:sp>
      <p:sp>
        <p:nvSpPr>
          <p:cNvPr id="33" name="Rectangle 32">
            <a:extLst>
              <a:ext uri="{FF2B5EF4-FFF2-40B4-BE49-F238E27FC236}">
                <a16:creationId xmlns:a16="http://schemas.microsoft.com/office/drawing/2014/main" id="{85B4DE14-77DE-2095-9CDA-A92CEC3635ED}"/>
              </a:ext>
            </a:extLst>
          </p:cNvPr>
          <p:cNvSpPr/>
          <p:nvPr/>
        </p:nvSpPr>
        <p:spPr>
          <a:xfrm>
            <a:off x="596671" y="4319835"/>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Lead</a:t>
            </a:r>
          </a:p>
        </p:txBody>
      </p:sp>
      <p:sp>
        <p:nvSpPr>
          <p:cNvPr id="34" name="Rectangle 33">
            <a:extLst>
              <a:ext uri="{FF2B5EF4-FFF2-40B4-BE49-F238E27FC236}">
                <a16:creationId xmlns:a16="http://schemas.microsoft.com/office/drawing/2014/main" id="{A855146A-3AAC-4E56-A02B-6BB345165A11}"/>
              </a:ext>
            </a:extLst>
          </p:cNvPr>
          <p:cNvSpPr/>
          <p:nvPr/>
        </p:nvSpPr>
        <p:spPr>
          <a:xfrm>
            <a:off x="596671" y="462156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SAP Expert</a:t>
            </a:r>
          </a:p>
        </p:txBody>
      </p:sp>
      <p:sp>
        <p:nvSpPr>
          <p:cNvPr id="35" name="Rectangle 34">
            <a:extLst>
              <a:ext uri="{FF2B5EF4-FFF2-40B4-BE49-F238E27FC236}">
                <a16:creationId xmlns:a16="http://schemas.microsoft.com/office/drawing/2014/main" id="{C2BB8A7C-6BAF-F28E-3A23-E495BFB1935E}"/>
              </a:ext>
            </a:extLst>
          </p:cNvPr>
          <p:cNvSpPr/>
          <p:nvPr/>
        </p:nvSpPr>
        <p:spPr>
          <a:xfrm>
            <a:off x="596671" y="492328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Team</a:t>
            </a:r>
          </a:p>
        </p:txBody>
      </p:sp>
      <p:sp>
        <p:nvSpPr>
          <p:cNvPr id="38" name="Rectangle 37">
            <a:extLst>
              <a:ext uri="{FF2B5EF4-FFF2-40B4-BE49-F238E27FC236}">
                <a16:creationId xmlns:a16="http://schemas.microsoft.com/office/drawing/2014/main" id="{E982D813-5E46-F729-64C3-78F220EF4188}"/>
              </a:ext>
            </a:extLst>
          </p:cNvPr>
          <p:cNvSpPr/>
          <p:nvPr/>
        </p:nvSpPr>
        <p:spPr>
          <a:xfrm>
            <a:off x="596671" y="522501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ata Migration Team</a:t>
            </a:r>
          </a:p>
        </p:txBody>
      </p:sp>
      <p:sp>
        <p:nvSpPr>
          <p:cNvPr id="41" name="Rectangle 40">
            <a:extLst>
              <a:ext uri="{FF2B5EF4-FFF2-40B4-BE49-F238E27FC236}">
                <a16:creationId xmlns:a16="http://schemas.microsoft.com/office/drawing/2014/main" id="{FBA9B523-D0D9-5B31-0DCA-C57DE1A4F785}"/>
              </a:ext>
            </a:extLst>
          </p:cNvPr>
          <p:cNvSpPr/>
          <p:nvPr/>
        </p:nvSpPr>
        <p:spPr>
          <a:xfrm>
            <a:off x="596671" y="552673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Testing Team</a:t>
            </a:r>
          </a:p>
        </p:txBody>
      </p:sp>
      <p:sp>
        <p:nvSpPr>
          <p:cNvPr id="42" name="Rectangle 41">
            <a:extLst>
              <a:ext uri="{FF2B5EF4-FFF2-40B4-BE49-F238E27FC236}">
                <a16:creationId xmlns:a16="http://schemas.microsoft.com/office/drawing/2014/main" id="{B56B3108-2218-B288-767B-8F4A775BF4F5}"/>
              </a:ext>
            </a:extLst>
          </p:cNvPr>
          <p:cNvSpPr/>
          <p:nvPr/>
        </p:nvSpPr>
        <p:spPr>
          <a:xfrm>
            <a:off x="596671" y="5828460"/>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evelopment Team</a:t>
            </a:r>
          </a:p>
        </p:txBody>
      </p:sp>
      <p:cxnSp>
        <p:nvCxnSpPr>
          <p:cNvPr id="58" name="Connector: Elbow 57">
            <a:extLst>
              <a:ext uri="{FF2B5EF4-FFF2-40B4-BE49-F238E27FC236}">
                <a16:creationId xmlns:a16="http://schemas.microsoft.com/office/drawing/2014/main" id="{E5742A2E-1D23-5AAF-698D-3730AC2A2060}"/>
              </a:ext>
            </a:extLst>
          </p:cNvPr>
          <p:cNvCxnSpPr>
            <a:cxnSpLocks/>
            <a:stCxn id="11" idx="0"/>
            <a:endCxn id="8" idx="2"/>
          </p:cNvCxnSpPr>
          <p:nvPr/>
        </p:nvCxnSpPr>
        <p:spPr>
          <a:xfrm rot="5400000" flipH="1" flipV="1">
            <a:off x="4727883" y="500277"/>
            <a:ext cx="353363" cy="35384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BA4F3260-A8D7-444F-F287-FA35AE3294E3}"/>
              </a:ext>
            </a:extLst>
          </p:cNvPr>
          <p:cNvCxnSpPr>
            <a:cxnSpLocks/>
            <a:stCxn id="12" idx="0"/>
            <a:endCxn id="8" idx="2"/>
          </p:cNvCxnSpPr>
          <p:nvPr/>
        </p:nvCxnSpPr>
        <p:spPr>
          <a:xfrm rot="5400000" flipH="1" flipV="1">
            <a:off x="5723375" y="1493315"/>
            <a:ext cx="350909" cy="15499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3C99F0F8-185F-DBB3-795D-05BFCEECC2DA}"/>
              </a:ext>
            </a:extLst>
          </p:cNvPr>
          <p:cNvCxnSpPr>
            <a:cxnSpLocks/>
            <a:stCxn id="13" idx="0"/>
            <a:endCxn id="8" idx="2"/>
          </p:cNvCxnSpPr>
          <p:nvPr/>
        </p:nvCxnSpPr>
        <p:spPr>
          <a:xfrm rot="16200000" flipV="1">
            <a:off x="6717025" y="2049628"/>
            <a:ext cx="350909" cy="4373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43D9DA43-35EA-B096-AA30-FD53400DE767}"/>
              </a:ext>
            </a:extLst>
          </p:cNvPr>
          <p:cNvCxnSpPr>
            <a:cxnSpLocks/>
            <a:stCxn id="14" idx="0"/>
            <a:endCxn id="8" idx="2"/>
          </p:cNvCxnSpPr>
          <p:nvPr/>
        </p:nvCxnSpPr>
        <p:spPr>
          <a:xfrm rot="16200000" flipV="1">
            <a:off x="7710674" y="1055979"/>
            <a:ext cx="350909" cy="242463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8001AC96-F43E-B3A9-8028-3707DE7A8279}"/>
              </a:ext>
            </a:extLst>
          </p:cNvPr>
          <p:cNvSpPr/>
          <p:nvPr/>
        </p:nvSpPr>
        <p:spPr>
          <a:xfrm>
            <a:off x="10250115" y="2400970"/>
            <a:ext cx="1473456" cy="11796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a:solidFill>
                  <a:sysClr val="windowText" lastClr="000000"/>
                </a:solidFill>
              </a:rPr>
              <a:t>Change Management Office</a:t>
            </a:r>
          </a:p>
        </p:txBody>
      </p:sp>
      <p:sp>
        <p:nvSpPr>
          <p:cNvPr id="84" name="Rectangle: Rounded Corners 83">
            <a:extLst>
              <a:ext uri="{FF2B5EF4-FFF2-40B4-BE49-F238E27FC236}">
                <a16:creationId xmlns:a16="http://schemas.microsoft.com/office/drawing/2014/main" id="{F88EF435-B3A1-F99D-6345-7674E143F473}"/>
              </a:ext>
            </a:extLst>
          </p:cNvPr>
          <p:cNvSpPr/>
          <p:nvPr/>
        </p:nvSpPr>
        <p:spPr>
          <a:xfrm>
            <a:off x="10404909" y="2751870"/>
            <a:ext cx="1187583" cy="67713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egional Change Team</a:t>
            </a:r>
          </a:p>
        </p:txBody>
      </p:sp>
      <p:cxnSp>
        <p:nvCxnSpPr>
          <p:cNvPr id="86" name="Connector: Elbow 85">
            <a:extLst>
              <a:ext uri="{FF2B5EF4-FFF2-40B4-BE49-F238E27FC236}">
                <a16:creationId xmlns:a16="http://schemas.microsoft.com/office/drawing/2014/main" id="{B41972BD-6609-6E11-6FB7-F19A3A756A68}"/>
              </a:ext>
            </a:extLst>
          </p:cNvPr>
          <p:cNvCxnSpPr>
            <a:cxnSpLocks/>
            <a:stCxn id="83" idx="0"/>
            <a:endCxn id="8" idx="2"/>
          </p:cNvCxnSpPr>
          <p:nvPr/>
        </p:nvCxnSpPr>
        <p:spPr>
          <a:xfrm rot="16200000" flipV="1">
            <a:off x="8676263" y="90390"/>
            <a:ext cx="308129" cy="43130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44DA8A1-562B-F359-9288-C3C5329F84E4}"/>
              </a:ext>
            </a:extLst>
          </p:cNvPr>
          <p:cNvCxnSpPr>
            <a:cxnSpLocks/>
            <a:stCxn id="7" idx="0"/>
            <a:endCxn id="109" idx="2"/>
          </p:cNvCxnSpPr>
          <p:nvPr/>
        </p:nvCxnSpPr>
        <p:spPr>
          <a:xfrm flipH="1" flipV="1">
            <a:off x="6673811" y="1115900"/>
            <a:ext cx="1443" cy="12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1217FE4-102B-DF02-DD95-145A40E632B7}"/>
              </a:ext>
            </a:extLst>
          </p:cNvPr>
          <p:cNvCxnSpPr>
            <a:cxnSpLocks/>
            <a:stCxn id="8" idx="0"/>
            <a:endCxn id="7" idx="2"/>
          </p:cNvCxnSpPr>
          <p:nvPr/>
        </p:nvCxnSpPr>
        <p:spPr>
          <a:xfrm flipV="1">
            <a:off x="6673811" y="1604370"/>
            <a:ext cx="1443" cy="122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FB248E0-6D48-BB62-C53C-02EA00220295}"/>
              </a:ext>
            </a:extLst>
          </p:cNvPr>
          <p:cNvSpPr/>
          <p:nvPr/>
        </p:nvSpPr>
        <p:spPr>
          <a:xfrm>
            <a:off x="2164376" y="75014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Regional Program Director</a:t>
            </a:r>
          </a:p>
        </p:txBody>
      </p:sp>
      <p:sp>
        <p:nvSpPr>
          <p:cNvPr id="5" name="Rectangle 4">
            <a:extLst>
              <a:ext uri="{FF2B5EF4-FFF2-40B4-BE49-F238E27FC236}">
                <a16:creationId xmlns:a16="http://schemas.microsoft.com/office/drawing/2014/main" id="{ED5BF88F-244F-6DFC-AD18-CB52B1845EA4}"/>
              </a:ext>
            </a:extLst>
          </p:cNvPr>
          <p:cNvSpPr/>
          <p:nvPr/>
        </p:nvSpPr>
        <p:spPr>
          <a:xfrm>
            <a:off x="2219741"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6" name="Rectangle 5">
            <a:extLst>
              <a:ext uri="{FF2B5EF4-FFF2-40B4-BE49-F238E27FC236}">
                <a16:creationId xmlns:a16="http://schemas.microsoft.com/office/drawing/2014/main" id="{BE670DDD-267D-636A-2C0E-F4BA28E4E468}"/>
              </a:ext>
            </a:extLst>
          </p:cNvPr>
          <p:cNvSpPr/>
          <p:nvPr/>
        </p:nvSpPr>
        <p:spPr>
          <a:xfrm>
            <a:off x="4192097" y="2751871"/>
            <a:ext cx="1847327" cy="3386118"/>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9" name="Rectangle 8">
            <a:extLst>
              <a:ext uri="{FF2B5EF4-FFF2-40B4-BE49-F238E27FC236}">
                <a16:creationId xmlns:a16="http://schemas.microsoft.com/office/drawing/2014/main" id="{7B4EAAB2-A0A3-D165-5020-65DEDF6889B8}"/>
              </a:ext>
            </a:extLst>
          </p:cNvPr>
          <p:cNvSpPr/>
          <p:nvPr/>
        </p:nvSpPr>
        <p:spPr>
          <a:xfrm>
            <a:off x="6185283"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5" name="Rectangle 14">
            <a:extLst>
              <a:ext uri="{FF2B5EF4-FFF2-40B4-BE49-F238E27FC236}">
                <a16:creationId xmlns:a16="http://schemas.microsoft.com/office/drawing/2014/main" id="{5D35EE44-8D4C-7480-0305-66599D98700F}"/>
              </a:ext>
            </a:extLst>
          </p:cNvPr>
          <p:cNvSpPr/>
          <p:nvPr/>
        </p:nvSpPr>
        <p:spPr>
          <a:xfrm>
            <a:off x="8180297"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7" name="Rectangle 16">
            <a:extLst>
              <a:ext uri="{FF2B5EF4-FFF2-40B4-BE49-F238E27FC236}">
                <a16:creationId xmlns:a16="http://schemas.microsoft.com/office/drawing/2014/main" id="{F2C8522C-1B77-81CD-46D9-1F4E6BB1929B}"/>
              </a:ext>
            </a:extLst>
          </p:cNvPr>
          <p:cNvSpPr/>
          <p:nvPr/>
        </p:nvSpPr>
        <p:spPr>
          <a:xfrm>
            <a:off x="2319576" y="925416"/>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7" name="Rectangle 36">
            <a:extLst>
              <a:ext uri="{FF2B5EF4-FFF2-40B4-BE49-F238E27FC236}">
                <a16:creationId xmlns:a16="http://schemas.microsoft.com/office/drawing/2014/main" id="{5A5B9C94-25C9-04E9-56B4-A71733C281B7}"/>
              </a:ext>
            </a:extLst>
          </p:cNvPr>
          <p:cNvSpPr/>
          <p:nvPr/>
        </p:nvSpPr>
        <p:spPr>
          <a:xfrm>
            <a:off x="2319576" y="1408998"/>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9" name="Rectangle 38">
            <a:extLst>
              <a:ext uri="{FF2B5EF4-FFF2-40B4-BE49-F238E27FC236}">
                <a16:creationId xmlns:a16="http://schemas.microsoft.com/office/drawing/2014/main" id="{FAD8652D-A490-7FF4-D082-F4198BCF47F6}"/>
              </a:ext>
            </a:extLst>
          </p:cNvPr>
          <p:cNvSpPr/>
          <p:nvPr/>
        </p:nvSpPr>
        <p:spPr>
          <a:xfrm>
            <a:off x="2319576" y="1907113"/>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16" name="TextBox 15">
            <a:extLst>
              <a:ext uri="{FF2B5EF4-FFF2-40B4-BE49-F238E27FC236}">
                <a16:creationId xmlns:a16="http://schemas.microsoft.com/office/drawing/2014/main" id="{25B766D7-32C8-C5AD-B831-C4FFB7C0504C}"/>
              </a:ext>
            </a:extLst>
          </p:cNvPr>
          <p:cNvSpPr txBox="1"/>
          <p:nvPr/>
        </p:nvSpPr>
        <p:spPr>
          <a:xfrm>
            <a:off x="10400051" y="2985183"/>
            <a:ext cx="1197297" cy="230832"/>
          </a:xfrm>
          <a:prstGeom prst="rect">
            <a:avLst/>
          </a:prstGeom>
          <a:noFill/>
        </p:spPr>
        <p:txBody>
          <a:bodyPr wrap="square">
            <a:spAutoFit/>
          </a:bodyPr>
          <a:lstStyle/>
          <a:p>
            <a:r>
              <a:rPr lang="en-US" sz="900" dirty="0">
                <a:solidFill>
                  <a:schemeClr val="bg1"/>
                </a:solidFill>
              </a:rPr>
              <a:t>Hendrik </a:t>
            </a:r>
            <a:r>
              <a:rPr lang="en-US" sz="900" dirty="0" err="1">
                <a:solidFill>
                  <a:schemeClr val="bg1"/>
                </a:solidFill>
              </a:rPr>
              <a:t>Viereck</a:t>
            </a:r>
            <a:endParaRPr lang="en-US" sz="900" dirty="0">
              <a:solidFill>
                <a:schemeClr val="bg1"/>
              </a:solidFill>
            </a:endParaRPr>
          </a:p>
        </p:txBody>
      </p:sp>
      <p:sp>
        <p:nvSpPr>
          <p:cNvPr id="19" name="TextBox 18">
            <a:extLst>
              <a:ext uri="{FF2B5EF4-FFF2-40B4-BE49-F238E27FC236}">
                <a16:creationId xmlns:a16="http://schemas.microsoft.com/office/drawing/2014/main" id="{314E50E3-8D28-88EB-B646-D7AFB2E3DE71}"/>
              </a:ext>
            </a:extLst>
          </p:cNvPr>
          <p:cNvSpPr txBox="1"/>
          <p:nvPr/>
        </p:nvSpPr>
        <p:spPr>
          <a:xfrm>
            <a:off x="2141883" y="4292095"/>
            <a:ext cx="970942" cy="200055"/>
          </a:xfrm>
          <a:prstGeom prst="rect">
            <a:avLst/>
          </a:prstGeom>
          <a:noFill/>
        </p:spPr>
        <p:txBody>
          <a:bodyPr wrap="square">
            <a:spAutoFit/>
          </a:bodyPr>
          <a:lstStyle/>
          <a:p>
            <a:r>
              <a:rPr lang="en-US" sz="700" b="1" dirty="0" err="1">
                <a:solidFill>
                  <a:schemeClr val="accent1"/>
                </a:solidFill>
                <a:latin typeface="+mj-lt"/>
              </a:rPr>
              <a:t>Segler</a:t>
            </a:r>
            <a:r>
              <a:rPr lang="en-US" sz="700" b="1" dirty="0">
                <a:solidFill>
                  <a:schemeClr val="accent1"/>
                </a:solidFill>
                <a:latin typeface="+mj-lt"/>
              </a:rPr>
              <a:t>, Simone</a:t>
            </a:r>
          </a:p>
        </p:txBody>
      </p:sp>
      <p:sp>
        <p:nvSpPr>
          <p:cNvPr id="21" name="TextBox 20">
            <a:extLst>
              <a:ext uri="{FF2B5EF4-FFF2-40B4-BE49-F238E27FC236}">
                <a16:creationId xmlns:a16="http://schemas.microsoft.com/office/drawing/2014/main" id="{FE6904DA-92FE-5DF6-C481-8195878AE273}"/>
              </a:ext>
            </a:extLst>
          </p:cNvPr>
          <p:cNvSpPr txBox="1"/>
          <p:nvPr/>
        </p:nvSpPr>
        <p:spPr>
          <a:xfrm>
            <a:off x="2151508" y="4392122"/>
            <a:ext cx="1546271" cy="200055"/>
          </a:xfrm>
          <a:prstGeom prst="rect">
            <a:avLst/>
          </a:prstGeom>
          <a:noFill/>
        </p:spPr>
        <p:txBody>
          <a:bodyPr wrap="square">
            <a:spAutoFit/>
          </a:bodyPr>
          <a:lstStyle/>
          <a:p>
            <a:r>
              <a:rPr lang="en-US" sz="700" b="1" dirty="0" err="1">
                <a:solidFill>
                  <a:schemeClr val="accent1"/>
                </a:solidFill>
                <a:latin typeface="+mj-lt"/>
              </a:rPr>
              <a:t>Damodar</a:t>
            </a:r>
            <a:r>
              <a:rPr lang="en-US" sz="700" b="1" dirty="0">
                <a:solidFill>
                  <a:schemeClr val="accent1"/>
                </a:solidFill>
                <a:latin typeface="+mj-lt"/>
              </a:rPr>
              <a:t> Naidu </a:t>
            </a:r>
            <a:r>
              <a:rPr lang="en-US" sz="700" b="1" dirty="0" err="1">
                <a:solidFill>
                  <a:schemeClr val="accent1"/>
                </a:solidFill>
                <a:latin typeface="+mj-lt"/>
              </a:rPr>
              <a:t>Paladugu</a:t>
            </a:r>
            <a:r>
              <a:rPr lang="en-US" sz="700" b="1" dirty="0">
                <a:solidFill>
                  <a:schemeClr val="accent1"/>
                </a:solidFill>
                <a:latin typeface="+mj-lt"/>
              </a:rPr>
              <a:t>     </a:t>
            </a:r>
          </a:p>
        </p:txBody>
      </p:sp>
      <p:sp>
        <p:nvSpPr>
          <p:cNvPr id="28" name="TextBox 27">
            <a:extLst>
              <a:ext uri="{FF2B5EF4-FFF2-40B4-BE49-F238E27FC236}">
                <a16:creationId xmlns:a16="http://schemas.microsoft.com/office/drawing/2014/main" id="{5F05E18F-1517-DFA3-4605-3749F3E157B7}"/>
              </a:ext>
            </a:extLst>
          </p:cNvPr>
          <p:cNvSpPr txBox="1"/>
          <p:nvPr/>
        </p:nvSpPr>
        <p:spPr>
          <a:xfrm>
            <a:off x="4190746" y="4325916"/>
            <a:ext cx="1209030" cy="200055"/>
          </a:xfrm>
          <a:prstGeom prst="rect">
            <a:avLst/>
          </a:prstGeom>
          <a:noFill/>
        </p:spPr>
        <p:txBody>
          <a:bodyPr wrap="square">
            <a:spAutoFit/>
          </a:bodyPr>
          <a:lstStyle/>
          <a:p>
            <a:r>
              <a:rPr lang="en-US" sz="700" b="1" dirty="0">
                <a:solidFill>
                  <a:schemeClr val="accent1"/>
                </a:solidFill>
                <a:latin typeface="+mj-lt"/>
              </a:rPr>
              <a:t>Rajput, </a:t>
            </a:r>
            <a:r>
              <a:rPr lang="en-US" sz="700" b="1" dirty="0" err="1">
                <a:solidFill>
                  <a:schemeClr val="accent1"/>
                </a:solidFill>
                <a:latin typeface="+mj-lt"/>
              </a:rPr>
              <a:t>Hemu</a:t>
            </a:r>
            <a:endParaRPr lang="en-US" sz="700" b="1" dirty="0">
              <a:solidFill>
                <a:schemeClr val="accent1"/>
              </a:solidFill>
              <a:latin typeface="+mj-lt"/>
            </a:endParaRPr>
          </a:p>
        </p:txBody>
      </p:sp>
      <p:sp>
        <p:nvSpPr>
          <p:cNvPr id="30" name="TextBox 29">
            <a:extLst>
              <a:ext uri="{FF2B5EF4-FFF2-40B4-BE49-F238E27FC236}">
                <a16:creationId xmlns:a16="http://schemas.microsoft.com/office/drawing/2014/main" id="{ED5D4FED-6EE6-BFE1-4141-847CBF7C6B18}"/>
              </a:ext>
            </a:extLst>
          </p:cNvPr>
          <p:cNvSpPr txBox="1"/>
          <p:nvPr/>
        </p:nvSpPr>
        <p:spPr>
          <a:xfrm>
            <a:off x="2350561" y="1887121"/>
            <a:ext cx="950330" cy="200055"/>
          </a:xfrm>
          <a:prstGeom prst="rect">
            <a:avLst/>
          </a:prstGeom>
          <a:noFill/>
        </p:spPr>
        <p:txBody>
          <a:bodyPr wrap="square">
            <a:spAutoFit/>
          </a:bodyPr>
          <a:lstStyle/>
          <a:p>
            <a:r>
              <a:rPr lang="en-US" sz="700" b="1" dirty="0">
                <a:solidFill>
                  <a:schemeClr val="accent1"/>
                </a:solidFill>
                <a:latin typeface="+mj-lt"/>
              </a:rPr>
              <a:t>Manfred Thebes</a:t>
            </a:r>
          </a:p>
        </p:txBody>
      </p:sp>
      <p:sp>
        <p:nvSpPr>
          <p:cNvPr id="32" name="TextBox 31">
            <a:extLst>
              <a:ext uri="{FF2B5EF4-FFF2-40B4-BE49-F238E27FC236}">
                <a16:creationId xmlns:a16="http://schemas.microsoft.com/office/drawing/2014/main" id="{2B9A5F79-43EA-CF75-9F4C-31EE1654BE34}"/>
              </a:ext>
            </a:extLst>
          </p:cNvPr>
          <p:cNvSpPr txBox="1"/>
          <p:nvPr/>
        </p:nvSpPr>
        <p:spPr>
          <a:xfrm>
            <a:off x="6210198" y="4916774"/>
            <a:ext cx="1311442" cy="200055"/>
          </a:xfrm>
          <a:prstGeom prst="rect">
            <a:avLst/>
          </a:prstGeom>
          <a:noFill/>
        </p:spPr>
        <p:txBody>
          <a:bodyPr wrap="square">
            <a:spAutoFit/>
          </a:bodyPr>
          <a:lstStyle/>
          <a:p>
            <a:r>
              <a:rPr lang="en-US" sz="700" b="1" dirty="0" err="1">
                <a:solidFill>
                  <a:schemeClr val="accent1"/>
                </a:solidFill>
                <a:latin typeface="+mj-lt"/>
              </a:rPr>
              <a:t>Abdurahman</a:t>
            </a:r>
            <a:r>
              <a:rPr lang="en-US" sz="700" b="1" dirty="0">
                <a:solidFill>
                  <a:schemeClr val="accent1"/>
                </a:solidFill>
                <a:latin typeface="+mj-lt"/>
              </a:rPr>
              <a:t> </a:t>
            </a:r>
            <a:r>
              <a:rPr lang="en-US" sz="700" b="1" dirty="0" err="1">
                <a:solidFill>
                  <a:schemeClr val="accent1"/>
                </a:solidFill>
                <a:latin typeface="+mj-lt"/>
              </a:rPr>
              <a:t>Sahin</a:t>
            </a:r>
            <a:endParaRPr lang="en-US" sz="700" b="1" dirty="0">
              <a:solidFill>
                <a:schemeClr val="accent1"/>
              </a:solidFill>
              <a:latin typeface="+mj-lt"/>
            </a:endParaRPr>
          </a:p>
        </p:txBody>
      </p:sp>
      <p:sp>
        <p:nvSpPr>
          <p:cNvPr id="40" name="TextBox 39">
            <a:extLst>
              <a:ext uri="{FF2B5EF4-FFF2-40B4-BE49-F238E27FC236}">
                <a16:creationId xmlns:a16="http://schemas.microsoft.com/office/drawing/2014/main" id="{9F377F64-560C-2666-BD4B-755BBDB25D0A}"/>
              </a:ext>
            </a:extLst>
          </p:cNvPr>
          <p:cNvSpPr txBox="1"/>
          <p:nvPr/>
        </p:nvSpPr>
        <p:spPr>
          <a:xfrm>
            <a:off x="2164375" y="5248947"/>
            <a:ext cx="1009212" cy="200055"/>
          </a:xfrm>
          <a:prstGeom prst="rect">
            <a:avLst/>
          </a:prstGeom>
          <a:noFill/>
        </p:spPr>
        <p:txBody>
          <a:bodyPr wrap="square">
            <a:spAutoFit/>
          </a:bodyPr>
          <a:lstStyle/>
          <a:p>
            <a:r>
              <a:rPr lang="en-US" sz="700" b="1" dirty="0">
                <a:solidFill>
                  <a:schemeClr val="accent1"/>
                </a:solidFill>
                <a:latin typeface="+mj-lt"/>
              </a:rPr>
              <a:t>Armin Schmidt</a:t>
            </a:r>
          </a:p>
        </p:txBody>
      </p:sp>
      <p:sp>
        <p:nvSpPr>
          <p:cNvPr id="44" name="TextBox 43">
            <a:extLst>
              <a:ext uri="{FF2B5EF4-FFF2-40B4-BE49-F238E27FC236}">
                <a16:creationId xmlns:a16="http://schemas.microsoft.com/office/drawing/2014/main" id="{9BDA93EF-294C-F1FD-DACA-140402BCCC5D}"/>
              </a:ext>
            </a:extLst>
          </p:cNvPr>
          <p:cNvSpPr txBox="1"/>
          <p:nvPr/>
        </p:nvSpPr>
        <p:spPr>
          <a:xfrm>
            <a:off x="2164376" y="4921078"/>
            <a:ext cx="970942" cy="200055"/>
          </a:xfrm>
          <a:prstGeom prst="rect">
            <a:avLst/>
          </a:prstGeom>
          <a:noFill/>
        </p:spPr>
        <p:txBody>
          <a:bodyPr wrap="square">
            <a:spAutoFit/>
          </a:bodyPr>
          <a:lstStyle/>
          <a:p>
            <a:r>
              <a:rPr lang="en-US" sz="700" b="1" dirty="0">
                <a:solidFill>
                  <a:schemeClr val="accent1"/>
                </a:solidFill>
                <a:latin typeface="+mj-lt"/>
              </a:rPr>
              <a:t>Bianca Liguori</a:t>
            </a:r>
          </a:p>
        </p:txBody>
      </p:sp>
      <p:sp>
        <p:nvSpPr>
          <p:cNvPr id="46" name="TextBox 45">
            <a:extLst>
              <a:ext uri="{FF2B5EF4-FFF2-40B4-BE49-F238E27FC236}">
                <a16:creationId xmlns:a16="http://schemas.microsoft.com/office/drawing/2014/main" id="{662832A0-9798-5299-ED0F-5FEE96602FF4}"/>
              </a:ext>
            </a:extLst>
          </p:cNvPr>
          <p:cNvSpPr txBox="1"/>
          <p:nvPr/>
        </p:nvSpPr>
        <p:spPr>
          <a:xfrm>
            <a:off x="6180186" y="4352085"/>
            <a:ext cx="1645153" cy="200055"/>
          </a:xfrm>
          <a:prstGeom prst="rect">
            <a:avLst/>
          </a:prstGeom>
          <a:noFill/>
        </p:spPr>
        <p:txBody>
          <a:bodyPr wrap="square">
            <a:spAutoFit/>
          </a:bodyPr>
          <a:lstStyle/>
          <a:p>
            <a:r>
              <a:rPr lang="en-US" sz="700" b="1" dirty="0" err="1">
                <a:solidFill>
                  <a:schemeClr val="accent1"/>
                </a:solidFill>
                <a:latin typeface="+mj-lt"/>
              </a:rPr>
              <a:t>Sambhranta</a:t>
            </a:r>
            <a:r>
              <a:rPr lang="en-US" sz="700" b="1" dirty="0">
                <a:solidFill>
                  <a:schemeClr val="accent1"/>
                </a:solidFill>
                <a:latin typeface="+mj-lt"/>
              </a:rPr>
              <a:t> Mallick</a:t>
            </a:r>
          </a:p>
        </p:txBody>
      </p:sp>
      <p:sp>
        <p:nvSpPr>
          <p:cNvPr id="48" name="TextBox 47">
            <a:extLst>
              <a:ext uri="{FF2B5EF4-FFF2-40B4-BE49-F238E27FC236}">
                <a16:creationId xmlns:a16="http://schemas.microsoft.com/office/drawing/2014/main" id="{9040C6C8-63F5-4C57-9042-55AF44043C73}"/>
              </a:ext>
            </a:extLst>
          </p:cNvPr>
          <p:cNvSpPr txBox="1"/>
          <p:nvPr/>
        </p:nvSpPr>
        <p:spPr>
          <a:xfrm>
            <a:off x="4360680" y="1889377"/>
            <a:ext cx="1087767" cy="200055"/>
          </a:xfrm>
          <a:prstGeom prst="rect">
            <a:avLst/>
          </a:prstGeom>
          <a:noFill/>
        </p:spPr>
        <p:txBody>
          <a:bodyPr wrap="square">
            <a:spAutoFit/>
          </a:bodyPr>
          <a:lstStyle/>
          <a:p>
            <a:r>
              <a:rPr lang="en-US" sz="700" b="1" dirty="0">
                <a:solidFill>
                  <a:schemeClr val="accent1"/>
                </a:solidFill>
                <a:latin typeface="+mj-lt"/>
              </a:rPr>
              <a:t>Juergen </a:t>
            </a:r>
            <a:r>
              <a:rPr lang="en-US" sz="700" b="1" dirty="0" err="1">
                <a:solidFill>
                  <a:schemeClr val="accent1"/>
                </a:solidFill>
                <a:latin typeface="+mj-lt"/>
              </a:rPr>
              <a:t>Veith</a:t>
            </a:r>
            <a:endParaRPr lang="en-US" sz="700" b="1" dirty="0">
              <a:solidFill>
                <a:schemeClr val="accent1"/>
              </a:solidFill>
              <a:latin typeface="+mj-lt"/>
            </a:endParaRPr>
          </a:p>
        </p:txBody>
      </p:sp>
      <p:sp>
        <p:nvSpPr>
          <p:cNvPr id="50" name="TextBox 49">
            <a:extLst>
              <a:ext uri="{FF2B5EF4-FFF2-40B4-BE49-F238E27FC236}">
                <a16:creationId xmlns:a16="http://schemas.microsoft.com/office/drawing/2014/main" id="{EE32896F-34B9-DB05-D431-2D8A9BE24696}"/>
              </a:ext>
            </a:extLst>
          </p:cNvPr>
          <p:cNvSpPr txBox="1"/>
          <p:nvPr/>
        </p:nvSpPr>
        <p:spPr>
          <a:xfrm>
            <a:off x="3300891" y="1890006"/>
            <a:ext cx="950330" cy="200055"/>
          </a:xfrm>
          <a:prstGeom prst="rect">
            <a:avLst/>
          </a:prstGeom>
          <a:noFill/>
        </p:spPr>
        <p:txBody>
          <a:bodyPr wrap="square">
            <a:spAutoFit/>
          </a:bodyPr>
          <a:lstStyle/>
          <a:p>
            <a:r>
              <a:rPr lang="en-US" sz="700" b="1" dirty="0">
                <a:solidFill>
                  <a:schemeClr val="accent1"/>
                </a:solidFill>
                <a:latin typeface="+mj-lt"/>
              </a:rPr>
              <a:t>Lena Jansen</a:t>
            </a:r>
          </a:p>
        </p:txBody>
      </p:sp>
    </p:spTree>
    <p:extLst>
      <p:ext uri="{BB962C8B-B14F-4D97-AF65-F5344CB8AC3E}">
        <p14:creationId xmlns:p14="http://schemas.microsoft.com/office/powerpoint/2010/main" val="324626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DC9E49-8BAD-429F-ABB0-CC9515684400}"/>
              </a:ext>
            </a:extLst>
          </p:cNvPr>
          <p:cNvSpPr>
            <a:spLocks noGrp="1"/>
          </p:cNvSpPr>
          <p:nvPr>
            <p:ph idx="1"/>
          </p:nvPr>
        </p:nvSpPr>
        <p:spPr>
          <a:xfrm>
            <a:off x="407560" y="838796"/>
            <a:ext cx="11376880" cy="5384412"/>
          </a:xfrm>
        </p:spPr>
        <p:txBody>
          <a:bodyPr>
            <a:normAutofit/>
          </a:bodyPr>
          <a:lstStyle/>
          <a:p>
            <a:pPr>
              <a:buNone/>
            </a:pPr>
            <a:r>
              <a:rPr lang="en-US" dirty="0"/>
              <a:t>The Onboarding document is aimed at all the team members joining the Mone-G project. The purpose of this document is to introduce the whole Mone-G program to the team members and give a brief picture on the background, timelines and where we are with respect to the overall schedule.</a:t>
            </a:r>
          </a:p>
          <a:p>
            <a:pPr>
              <a:buNone/>
            </a:pPr>
            <a:endParaRPr lang="en-US" dirty="0"/>
          </a:p>
          <a:p>
            <a:pPr>
              <a:buNone/>
            </a:pPr>
            <a:r>
              <a:rPr lang="en-US" b="1" dirty="0"/>
              <a:t>Contents:</a:t>
            </a:r>
          </a:p>
          <a:p>
            <a:r>
              <a:rPr lang="en-US" dirty="0"/>
              <a:t>Section 1. Introduction to Mone-G</a:t>
            </a:r>
          </a:p>
          <a:p>
            <a:r>
              <a:rPr lang="en-US" dirty="0"/>
              <a:t>Section 2. Project Timeline</a:t>
            </a:r>
          </a:p>
          <a:p>
            <a:r>
              <a:rPr lang="en-US" dirty="0"/>
              <a:t>Section 3. Organization Structure</a:t>
            </a:r>
          </a:p>
          <a:p>
            <a:r>
              <a:rPr lang="en-US" dirty="0"/>
              <a:t>Section 4. Relevant Access</a:t>
            </a:r>
          </a:p>
          <a:p>
            <a:r>
              <a:rPr lang="en-US" dirty="0"/>
              <a:t>Section 5. Work Culture</a:t>
            </a:r>
          </a:p>
          <a:p>
            <a:r>
              <a:rPr lang="en-US" dirty="0"/>
              <a:t>Section 6. Useful Links</a:t>
            </a:r>
          </a:p>
          <a:p>
            <a:r>
              <a:rPr lang="en-US" dirty="0"/>
              <a:t>Section 7. </a:t>
            </a:r>
            <a:r>
              <a:rPr lang="en-US"/>
              <a:t>Compliance</a:t>
            </a:r>
            <a:endParaRPr lang="en-US" dirty="0"/>
          </a:p>
          <a:p>
            <a:endParaRPr lang="en-US" dirty="0"/>
          </a:p>
        </p:txBody>
      </p:sp>
      <p:sp>
        <p:nvSpPr>
          <p:cNvPr id="3" name="Slide Number Placeholder 2">
            <a:extLst>
              <a:ext uri="{FF2B5EF4-FFF2-40B4-BE49-F238E27FC236}">
                <a16:creationId xmlns:a16="http://schemas.microsoft.com/office/drawing/2014/main" id="{12E6BDF3-4CF8-464A-B256-640342AD47A6}"/>
              </a:ext>
            </a:extLst>
          </p:cNvPr>
          <p:cNvSpPr>
            <a:spLocks noGrp="1"/>
          </p:cNvSpPr>
          <p:nvPr>
            <p:ph type="sldNum" sz="quarter" idx="4"/>
          </p:nvPr>
        </p:nvSpPr>
        <p:spPr>
          <a:xfrm>
            <a:off x="242501" y="6474646"/>
            <a:ext cx="343673" cy="239418"/>
          </a:xfrm>
        </p:spPr>
        <p:txBody>
          <a:bodyPr anchor="t">
            <a:normAutofit/>
          </a:bodyPr>
          <a:lstStyle/>
          <a:p>
            <a:pPr>
              <a:lnSpc>
                <a:spcPct val="90000"/>
              </a:lnSpc>
              <a:spcAft>
                <a:spcPts val="600"/>
              </a:spcAft>
            </a:pPr>
            <a:fld id="{48394356-8693-4048-8EAF-2BF05B04AA80}" type="slidenum">
              <a:rPr lang="ja-JP" altLang="en-US" sz="1000" smtClean="0"/>
              <a:pPr>
                <a:lnSpc>
                  <a:spcPct val="90000"/>
                </a:lnSpc>
                <a:spcAft>
                  <a:spcPts val="600"/>
                </a:spcAft>
              </a:pPr>
              <a:t>2</a:t>
            </a:fld>
            <a:endParaRPr lang="ja-JP" altLang="en-US" sz="1000"/>
          </a:p>
        </p:txBody>
      </p:sp>
      <p:sp>
        <p:nvSpPr>
          <p:cNvPr id="5" name="Footer Placeholder 4">
            <a:extLst>
              <a:ext uri="{FF2B5EF4-FFF2-40B4-BE49-F238E27FC236}">
                <a16:creationId xmlns:a16="http://schemas.microsoft.com/office/drawing/2014/main" id="{9FE1FD24-0DFE-45D8-B0FB-41B7277DC3CB}"/>
              </a:ext>
            </a:extLst>
          </p:cNvPr>
          <p:cNvSpPr>
            <a:spLocks noGrp="1"/>
          </p:cNvSpPr>
          <p:nvPr>
            <p:ph type="ftr" sz="quarter" idx="3"/>
          </p:nvPr>
        </p:nvSpPr>
        <p:spPr>
          <a:xfrm>
            <a:off x="638760" y="6474646"/>
            <a:ext cx="4456805" cy="239418"/>
          </a:xfrm>
        </p:spPr>
        <p:txBody>
          <a:bodyPr>
            <a:normAutofit/>
          </a:bodyPr>
          <a:lstStyle/>
          <a:p>
            <a:pPr>
              <a:lnSpc>
                <a:spcPct val="90000"/>
              </a:lnSpc>
              <a:spcAft>
                <a:spcPts val="600"/>
              </a:spcAft>
            </a:pPr>
            <a:r>
              <a:rPr lang="en-US" altLang="ja-JP" sz="1000"/>
              <a:t>Mitsubishi Chemical Group   </a:t>
            </a:r>
            <a:endParaRPr lang="ja-JP" altLang="en-US" sz="1000"/>
          </a:p>
        </p:txBody>
      </p:sp>
      <p:sp>
        <p:nvSpPr>
          <p:cNvPr id="7" name="Title 6">
            <a:extLst>
              <a:ext uri="{FF2B5EF4-FFF2-40B4-BE49-F238E27FC236}">
                <a16:creationId xmlns:a16="http://schemas.microsoft.com/office/drawing/2014/main" id="{75E28C31-11CC-4F6F-B712-8CA497AFD29B}"/>
              </a:ext>
            </a:extLst>
          </p:cNvPr>
          <p:cNvSpPr>
            <a:spLocks noGrp="1"/>
          </p:cNvSpPr>
          <p:nvPr>
            <p:ph type="title"/>
          </p:nvPr>
        </p:nvSpPr>
        <p:spPr>
          <a:xfrm>
            <a:off x="947353" y="188913"/>
            <a:ext cx="8281636" cy="540000"/>
          </a:xfrm>
        </p:spPr>
        <p:txBody>
          <a:bodyPr wrap="none" anchor="t">
            <a:normAutofit/>
          </a:bodyPr>
          <a:lstStyle/>
          <a:p>
            <a:r>
              <a:rPr lang="en-US"/>
              <a:t>Purpose and Contents</a:t>
            </a:r>
          </a:p>
        </p:txBody>
      </p:sp>
    </p:spTree>
    <p:extLst>
      <p:ext uri="{BB962C8B-B14F-4D97-AF65-F5344CB8AC3E}">
        <p14:creationId xmlns:p14="http://schemas.microsoft.com/office/powerpoint/2010/main" val="2165823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CF1681C-DBE9-14DC-016B-1C796F4104F6}"/>
              </a:ext>
            </a:extLst>
          </p:cNvPr>
          <p:cNvSpPr/>
          <p:nvPr/>
        </p:nvSpPr>
        <p:spPr>
          <a:xfrm>
            <a:off x="499830" y="2332446"/>
            <a:ext cx="9683015" cy="39632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Solution Delivery Team</a:t>
            </a:r>
          </a:p>
        </p:txBody>
      </p:sp>
      <p:sp>
        <p:nvSpPr>
          <p:cNvPr id="54" name="Rectangle 53">
            <a:extLst>
              <a:ext uri="{FF2B5EF4-FFF2-40B4-BE49-F238E27FC236}">
                <a16:creationId xmlns:a16="http://schemas.microsoft.com/office/drawing/2014/main" id="{DC05A570-0081-15A3-BD9F-6FD35C7ECCED}"/>
              </a:ext>
            </a:extLst>
          </p:cNvPr>
          <p:cNvSpPr/>
          <p:nvPr/>
        </p:nvSpPr>
        <p:spPr>
          <a:xfrm>
            <a:off x="481263" y="720011"/>
            <a:ext cx="11242308" cy="14591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Regional Governance </a:t>
            </a:r>
          </a:p>
          <a:p>
            <a:r>
              <a:rPr lang="en-US" sz="900" b="1" dirty="0">
                <a:solidFill>
                  <a:schemeClr val="tx1"/>
                </a:solidFill>
              </a:rPr>
              <a:t>and Management</a:t>
            </a:r>
          </a:p>
        </p:txBody>
      </p:sp>
      <p:sp>
        <p:nvSpPr>
          <p:cNvPr id="2" name="Slide Number Placeholder 1">
            <a:extLst>
              <a:ext uri="{FF2B5EF4-FFF2-40B4-BE49-F238E27FC236}">
                <a16:creationId xmlns:a16="http://schemas.microsoft.com/office/drawing/2014/main" id="{AC692E9A-ECBD-6069-1004-7CA6960932E4}"/>
              </a:ext>
            </a:extLst>
          </p:cNvPr>
          <p:cNvSpPr>
            <a:spLocks noGrp="1"/>
          </p:cNvSpPr>
          <p:nvPr>
            <p:ph type="sldNum" sz="quarter" idx="4"/>
          </p:nvPr>
        </p:nvSpPr>
        <p:spPr/>
        <p:txBody>
          <a:bodyPr/>
          <a:lstStyle/>
          <a:p>
            <a:fld id="{48394356-8693-4048-8EAF-2BF05B04AA80}" type="slidenum">
              <a:rPr lang="ja-JP" altLang="en-US" smtClean="0"/>
              <a:pPr/>
              <a:t>20</a:t>
            </a:fld>
            <a:endParaRPr lang="ja-JP" altLang="en-US"/>
          </a:p>
        </p:txBody>
      </p:sp>
      <p:sp>
        <p:nvSpPr>
          <p:cNvPr id="3" name="Footer Placeholder 2">
            <a:extLst>
              <a:ext uri="{FF2B5EF4-FFF2-40B4-BE49-F238E27FC236}">
                <a16:creationId xmlns:a16="http://schemas.microsoft.com/office/drawing/2014/main" id="{21AB6FE0-4695-4224-EBB4-4F4D349994E5}"/>
              </a:ext>
            </a:extLst>
          </p:cNvPr>
          <p:cNvSpPr>
            <a:spLocks noGrp="1"/>
          </p:cNvSpPr>
          <p:nvPr>
            <p:ph type="ftr" sz="quarter" idx="3"/>
          </p:nvPr>
        </p:nvSpPr>
        <p:spPr/>
        <p:txBody>
          <a:bodyPr/>
          <a:lstStyle/>
          <a:p>
            <a:r>
              <a:rPr lang="en-US" altLang="ja-JP"/>
              <a:t>Mitsubishi Chemical Group   </a:t>
            </a:r>
            <a:endParaRPr lang="ja-JP" altLang="en-US"/>
          </a:p>
        </p:txBody>
      </p:sp>
      <p:sp>
        <p:nvSpPr>
          <p:cNvPr id="4" name="Title 3">
            <a:extLst>
              <a:ext uri="{FF2B5EF4-FFF2-40B4-BE49-F238E27FC236}">
                <a16:creationId xmlns:a16="http://schemas.microsoft.com/office/drawing/2014/main" id="{9EF1C545-629E-E62A-023F-9F5C0203765B}"/>
              </a:ext>
            </a:extLst>
          </p:cNvPr>
          <p:cNvSpPr>
            <a:spLocks noGrp="1"/>
          </p:cNvSpPr>
          <p:nvPr>
            <p:ph type="title"/>
          </p:nvPr>
        </p:nvSpPr>
        <p:spPr/>
        <p:txBody>
          <a:bodyPr/>
          <a:lstStyle/>
          <a:p>
            <a:r>
              <a:rPr lang="en-US" dirty="0" err="1"/>
              <a:t>Mone</a:t>
            </a:r>
            <a:r>
              <a:rPr lang="en-US" dirty="0"/>
              <a:t>-G Regional Organizational Structure - UK</a:t>
            </a:r>
          </a:p>
        </p:txBody>
      </p:sp>
      <p:sp>
        <p:nvSpPr>
          <p:cNvPr id="7" name="Rectangle 6">
            <a:extLst>
              <a:ext uri="{FF2B5EF4-FFF2-40B4-BE49-F238E27FC236}">
                <a16:creationId xmlns:a16="http://schemas.microsoft.com/office/drawing/2014/main" id="{2BCEA343-FAC5-67B8-5CD6-97198B4D3ACD}"/>
              </a:ext>
            </a:extLst>
          </p:cNvPr>
          <p:cNvSpPr/>
          <p:nvPr/>
        </p:nvSpPr>
        <p:spPr>
          <a:xfrm>
            <a:off x="2165819" y="123861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Local Steering Committee Board</a:t>
            </a:r>
          </a:p>
        </p:txBody>
      </p:sp>
      <p:sp>
        <p:nvSpPr>
          <p:cNvPr id="8" name="Rectangle 7">
            <a:extLst>
              <a:ext uri="{FF2B5EF4-FFF2-40B4-BE49-F238E27FC236}">
                <a16:creationId xmlns:a16="http://schemas.microsoft.com/office/drawing/2014/main" id="{18F583EC-6E50-DC46-A66E-37F65223E252}"/>
              </a:ext>
            </a:extLst>
          </p:cNvPr>
          <p:cNvSpPr/>
          <p:nvPr/>
        </p:nvSpPr>
        <p:spPr>
          <a:xfrm>
            <a:off x="2165819" y="1727081"/>
            <a:ext cx="9015984"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j-lt"/>
                <a:ea typeface="+mn-ea"/>
                <a:cs typeface="Calibri" panose="020F0502020204030204" pitchFamily="34" charset="0"/>
              </a:rPr>
              <a:t>Program Management</a:t>
            </a:r>
          </a:p>
        </p:txBody>
      </p:sp>
      <p:sp>
        <p:nvSpPr>
          <p:cNvPr id="11" name="Rectangle: Rounded Corners 10">
            <a:extLst>
              <a:ext uri="{FF2B5EF4-FFF2-40B4-BE49-F238E27FC236}">
                <a16:creationId xmlns:a16="http://schemas.microsoft.com/office/drawing/2014/main" id="{D953E7DD-C8CA-C03D-F19D-D61FEB839035}"/>
              </a:ext>
            </a:extLst>
          </p:cNvPr>
          <p:cNvSpPr/>
          <p:nvPr/>
        </p:nvSpPr>
        <p:spPr>
          <a:xfrm>
            <a:off x="2164376" y="2446204"/>
            <a:ext cx="1941884" cy="377592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e to Man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TM - FICO)</a:t>
            </a:r>
          </a:p>
        </p:txBody>
      </p:sp>
      <p:sp>
        <p:nvSpPr>
          <p:cNvPr id="12" name="Rectangle: Rounded Corners 11">
            <a:extLst>
              <a:ext uri="{FF2B5EF4-FFF2-40B4-BE49-F238E27FC236}">
                <a16:creationId xmlns:a16="http://schemas.microsoft.com/office/drawing/2014/main" id="{7A75E3F8-F358-7B9D-027E-FE5721EEC682}"/>
              </a:ext>
            </a:extLst>
          </p:cNvPr>
          <p:cNvSpPr/>
          <p:nvPr/>
        </p:nvSpPr>
        <p:spPr>
          <a:xfrm>
            <a:off x="4152906"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cure to P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TP - MM)</a:t>
            </a:r>
          </a:p>
        </p:txBody>
      </p:sp>
      <p:sp>
        <p:nvSpPr>
          <p:cNvPr id="13" name="Rectangle: Rounded Corners 12">
            <a:extLst>
              <a:ext uri="{FF2B5EF4-FFF2-40B4-BE49-F238E27FC236}">
                <a16:creationId xmlns:a16="http://schemas.microsoft.com/office/drawing/2014/main" id="{CA5AD75C-E3BB-9BA8-4310-5F3D8DE55A9E}"/>
              </a:ext>
            </a:extLst>
          </p:cNvPr>
          <p:cNvSpPr/>
          <p:nvPr/>
        </p:nvSpPr>
        <p:spPr>
          <a:xfrm>
            <a:off x="6140204"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rder to 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TC - SD)</a:t>
            </a:r>
          </a:p>
        </p:txBody>
      </p:sp>
      <p:sp>
        <p:nvSpPr>
          <p:cNvPr id="14" name="Rectangle: Rounded Corners 13">
            <a:extLst>
              <a:ext uri="{FF2B5EF4-FFF2-40B4-BE49-F238E27FC236}">
                <a16:creationId xmlns:a16="http://schemas.microsoft.com/office/drawing/2014/main" id="{01278430-03C5-06C7-63E1-5265FE5F2DC5}"/>
              </a:ext>
            </a:extLst>
          </p:cNvPr>
          <p:cNvSpPr/>
          <p:nvPr/>
        </p:nvSpPr>
        <p:spPr>
          <a:xfrm>
            <a:off x="8127502" y="2443750"/>
            <a:ext cx="1941884" cy="3775921"/>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emand to Su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TS – PP,PI)</a:t>
            </a:r>
          </a:p>
        </p:txBody>
      </p:sp>
      <p:sp>
        <p:nvSpPr>
          <p:cNvPr id="22" name="Rectangle 21">
            <a:extLst>
              <a:ext uri="{FF2B5EF4-FFF2-40B4-BE49-F238E27FC236}">
                <a16:creationId xmlns:a16="http://schemas.microsoft.com/office/drawing/2014/main" id="{969376C2-F0FD-A3E8-7EC3-685A0292D653}"/>
              </a:ext>
            </a:extLst>
          </p:cNvPr>
          <p:cNvSpPr/>
          <p:nvPr/>
        </p:nvSpPr>
        <p:spPr>
          <a:xfrm>
            <a:off x="598966" y="2814030"/>
            <a:ext cx="9520069"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L</a:t>
            </a:r>
          </a:p>
        </p:txBody>
      </p:sp>
      <p:sp>
        <p:nvSpPr>
          <p:cNvPr id="23" name="Rectangle 22">
            <a:extLst>
              <a:ext uri="{FF2B5EF4-FFF2-40B4-BE49-F238E27FC236}">
                <a16:creationId xmlns:a16="http://schemas.microsoft.com/office/drawing/2014/main" id="{0601CE1D-855F-F786-657C-7B241EA132D9}"/>
              </a:ext>
            </a:extLst>
          </p:cNvPr>
          <p:cNvSpPr/>
          <p:nvPr/>
        </p:nvSpPr>
        <p:spPr>
          <a:xfrm>
            <a:off x="596671" y="311293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E</a:t>
            </a:r>
          </a:p>
        </p:txBody>
      </p:sp>
      <p:sp>
        <p:nvSpPr>
          <p:cNvPr id="24" name="Rectangle 23">
            <a:extLst>
              <a:ext uri="{FF2B5EF4-FFF2-40B4-BE49-F238E27FC236}">
                <a16:creationId xmlns:a16="http://schemas.microsoft.com/office/drawing/2014/main" id="{2E6A2C67-CFC4-CAC7-EAD6-8E4C4D510CEB}"/>
              </a:ext>
            </a:extLst>
          </p:cNvPr>
          <p:cNvSpPr/>
          <p:nvPr/>
        </p:nvSpPr>
        <p:spPr>
          <a:xfrm>
            <a:off x="596671" y="341465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BPO</a:t>
            </a:r>
          </a:p>
        </p:txBody>
      </p:sp>
      <p:sp>
        <p:nvSpPr>
          <p:cNvPr id="25" name="Rectangle 24">
            <a:extLst>
              <a:ext uri="{FF2B5EF4-FFF2-40B4-BE49-F238E27FC236}">
                <a16:creationId xmlns:a16="http://schemas.microsoft.com/office/drawing/2014/main" id="{D2F02960-D5DD-A9AC-3CA0-7D97A2462177}"/>
              </a:ext>
            </a:extLst>
          </p:cNvPr>
          <p:cNvSpPr/>
          <p:nvPr/>
        </p:nvSpPr>
        <p:spPr>
          <a:xfrm>
            <a:off x="596671" y="371638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Key User</a:t>
            </a:r>
          </a:p>
        </p:txBody>
      </p:sp>
      <p:sp>
        <p:nvSpPr>
          <p:cNvPr id="27" name="Rectangle 26">
            <a:extLst>
              <a:ext uri="{FF2B5EF4-FFF2-40B4-BE49-F238E27FC236}">
                <a16:creationId xmlns:a16="http://schemas.microsoft.com/office/drawing/2014/main" id="{C24A20E6-1D78-3BC8-F197-7FD5CCC491A1}"/>
              </a:ext>
            </a:extLst>
          </p:cNvPr>
          <p:cNvSpPr/>
          <p:nvPr/>
        </p:nvSpPr>
        <p:spPr>
          <a:xfrm>
            <a:off x="596671" y="401810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BPCA</a:t>
            </a:r>
          </a:p>
        </p:txBody>
      </p:sp>
      <p:sp>
        <p:nvSpPr>
          <p:cNvPr id="33" name="Rectangle 32">
            <a:extLst>
              <a:ext uri="{FF2B5EF4-FFF2-40B4-BE49-F238E27FC236}">
                <a16:creationId xmlns:a16="http://schemas.microsoft.com/office/drawing/2014/main" id="{85B4DE14-77DE-2095-9CDA-A92CEC3635ED}"/>
              </a:ext>
            </a:extLst>
          </p:cNvPr>
          <p:cNvSpPr/>
          <p:nvPr/>
        </p:nvSpPr>
        <p:spPr>
          <a:xfrm>
            <a:off x="596671" y="4319835"/>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Lead</a:t>
            </a:r>
          </a:p>
        </p:txBody>
      </p:sp>
      <p:sp>
        <p:nvSpPr>
          <p:cNvPr id="34" name="Rectangle 33">
            <a:extLst>
              <a:ext uri="{FF2B5EF4-FFF2-40B4-BE49-F238E27FC236}">
                <a16:creationId xmlns:a16="http://schemas.microsoft.com/office/drawing/2014/main" id="{A855146A-3AAC-4E56-A02B-6BB345165A11}"/>
              </a:ext>
            </a:extLst>
          </p:cNvPr>
          <p:cNvSpPr/>
          <p:nvPr/>
        </p:nvSpPr>
        <p:spPr>
          <a:xfrm>
            <a:off x="596671" y="4621561"/>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SAP Expert</a:t>
            </a:r>
          </a:p>
        </p:txBody>
      </p:sp>
      <p:sp>
        <p:nvSpPr>
          <p:cNvPr id="35" name="Rectangle 34">
            <a:extLst>
              <a:ext uri="{FF2B5EF4-FFF2-40B4-BE49-F238E27FC236}">
                <a16:creationId xmlns:a16="http://schemas.microsoft.com/office/drawing/2014/main" id="{C2BB8A7C-6BAF-F28E-3A23-E495BFB1935E}"/>
              </a:ext>
            </a:extLst>
          </p:cNvPr>
          <p:cNvSpPr/>
          <p:nvPr/>
        </p:nvSpPr>
        <p:spPr>
          <a:xfrm>
            <a:off x="596671" y="4923287"/>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dirty="0">
                <a:solidFill>
                  <a:prstClr val="black"/>
                </a:solidFill>
                <a:latin typeface="+mj-lt"/>
              </a:rPr>
              <a:t>Functional Team</a:t>
            </a:r>
          </a:p>
        </p:txBody>
      </p:sp>
      <p:sp>
        <p:nvSpPr>
          <p:cNvPr id="38" name="Rectangle 37">
            <a:extLst>
              <a:ext uri="{FF2B5EF4-FFF2-40B4-BE49-F238E27FC236}">
                <a16:creationId xmlns:a16="http://schemas.microsoft.com/office/drawing/2014/main" id="{E982D813-5E46-F729-64C3-78F220EF4188}"/>
              </a:ext>
            </a:extLst>
          </p:cNvPr>
          <p:cNvSpPr/>
          <p:nvPr/>
        </p:nvSpPr>
        <p:spPr>
          <a:xfrm>
            <a:off x="596671" y="5225013"/>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ata Migration Team</a:t>
            </a:r>
          </a:p>
        </p:txBody>
      </p:sp>
      <p:sp>
        <p:nvSpPr>
          <p:cNvPr id="41" name="Rectangle 40">
            <a:extLst>
              <a:ext uri="{FF2B5EF4-FFF2-40B4-BE49-F238E27FC236}">
                <a16:creationId xmlns:a16="http://schemas.microsoft.com/office/drawing/2014/main" id="{FBA9B523-D0D9-5B31-0DCA-C57DE1A4F785}"/>
              </a:ext>
            </a:extLst>
          </p:cNvPr>
          <p:cNvSpPr/>
          <p:nvPr/>
        </p:nvSpPr>
        <p:spPr>
          <a:xfrm>
            <a:off x="596671" y="5526739"/>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Testing Team</a:t>
            </a:r>
          </a:p>
        </p:txBody>
      </p:sp>
      <p:sp>
        <p:nvSpPr>
          <p:cNvPr id="42" name="Rectangle 41">
            <a:extLst>
              <a:ext uri="{FF2B5EF4-FFF2-40B4-BE49-F238E27FC236}">
                <a16:creationId xmlns:a16="http://schemas.microsoft.com/office/drawing/2014/main" id="{B56B3108-2218-B288-767B-8F4A775BF4F5}"/>
              </a:ext>
            </a:extLst>
          </p:cNvPr>
          <p:cNvSpPr/>
          <p:nvPr/>
        </p:nvSpPr>
        <p:spPr>
          <a:xfrm>
            <a:off x="596671" y="5828460"/>
            <a:ext cx="9518904" cy="228600"/>
          </a:xfrm>
          <a:prstGeom prst="rect">
            <a:avLst/>
          </a:prstGeom>
          <a:solidFill>
            <a:srgbClr val="5AA2AE">
              <a:lumMod val="40000"/>
              <a:lumOff val="60000"/>
              <a:alpha val="70000"/>
            </a:srgbClr>
          </a:solidFill>
          <a:ln w="9525" cap="flat" cmpd="sng" algn="ctr">
            <a:solidFill>
              <a:srgbClr val="4A66AC">
                <a:lumMod val="20000"/>
                <a:lumOff val="80000"/>
              </a:srgbClr>
            </a:solidFill>
            <a:prstDash val="solid"/>
            <a:miter lim="800000"/>
          </a:ln>
          <a:effectLst/>
        </p:spPr>
        <p:txBody>
          <a:bodyPr lIns="0" rIns="0" rtlCol="0" anchor="ctr"/>
          <a:lstStyle/>
          <a:p>
            <a:r>
              <a:rPr lang="en-US" sz="700" b="1" kern="0">
                <a:solidFill>
                  <a:prstClr val="black"/>
                </a:solidFill>
                <a:latin typeface="+mj-lt"/>
              </a:rPr>
              <a:t>Development Team</a:t>
            </a:r>
          </a:p>
        </p:txBody>
      </p:sp>
      <p:cxnSp>
        <p:nvCxnSpPr>
          <p:cNvPr id="58" name="Connector: Elbow 57">
            <a:extLst>
              <a:ext uri="{FF2B5EF4-FFF2-40B4-BE49-F238E27FC236}">
                <a16:creationId xmlns:a16="http://schemas.microsoft.com/office/drawing/2014/main" id="{E5742A2E-1D23-5AAF-698D-3730AC2A2060}"/>
              </a:ext>
            </a:extLst>
          </p:cNvPr>
          <p:cNvCxnSpPr>
            <a:cxnSpLocks/>
            <a:stCxn id="11" idx="0"/>
            <a:endCxn id="8" idx="2"/>
          </p:cNvCxnSpPr>
          <p:nvPr/>
        </p:nvCxnSpPr>
        <p:spPr>
          <a:xfrm rot="5400000" flipH="1" flipV="1">
            <a:off x="4727883" y="500277"/>
            <a:ext cx="353363" cy="35384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BA4F3260-A8D7-444F-F287-FA35AE3294E3}"/>
              </a:ext>
            </a:extLst>
          </p:cNvPr>
          <p:cNvCxnSpPr>
            <a:cxnSpLocks/>
            <a:stCxn id="12" idx="0"/>
            <a:endCxn id="8" idx="2"/>
          </p:cNvCxnSpPr>
          <p:nvPr/>
        </p:nvCxnSpPr>
        <p:spPr>
          <a:xfrm rot="5400000" flipH="1" flipV="1">
            <a:off x="5723375" y="1493315"/>
            <a:ext cx="350909" cy="15499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3C99F0F8-185F-DBB3-795D-05BFCEECC2DA}"/>
              </a:ext>
            </a:extLst>
          </p:cNvPr>
          <p:cNvCxnSpPr>
            <a:cxnSpLocks/>
            <a:stCxn id="13" idx="0"/>
            <a:endCxn id="8" idx="2"/>
          </p:cNvCxnSpPr>
          <p:nvPr/>
        </p:nvCxnSpPr>
        <p:spPr>
          <a:xfrm rot="16200000" flipV="1">
            <a:off x="6717025" y="2049628"/>
            <a:ext cx="350909" cy="4373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43D9DA43-35EA-B096-AA30-FD53400DE767}"/>
              </a:ext>
            </a:extLst>
          </p:cNvPr>
          <p:cNvCxnSpPr>
            <a:cxnSpLocks/>
            <a:stCxn id="14" idx="0"/>
            <a:endCxn id="8" idx="2"/>
          </p:cNvCxnSpPr>
          <p:nvPr/>
        </p:nvCxnSpPr>
        <p:spPr>
          <a:xfrm rot="16200000" flipV="1">
            <a:off x="7710674" y="1055979"/>
            <a:ext cx="350909" cy="242463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8001AC96-F43E-B3A9-8028-3707DE7A8279}"/>
              </a:ext>
            </a:extLst>
          </p:cNvPr>
          <p:cNvSpPr/>
          <p:nvPr/>
        </p:nvSpPr>
        <p:spPr>
          <a:xfrm>
            <a:off x="10250115" y="2400970"/>
            <a:ext cx="1473456" cy="11796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a:solidFill>
                  <a:sysClr val="windowText" lastClr="000000"/>
                </a:solidFill>
              </a:rPr>
              <a:t>Change Management Office</a:t>
            </a:r>
          </a:p>
        </p:txBody>
      </p:sp>
      <p:sp>
        <p:nvSpPr>
          <p:cNvPr id="84" name="Rectangle: Rounded Corners 83">
            <a:extLst>
              <a:ext uri="{FF2B5EF4-FFF2-40B4-BE49-F238E27FC236}">
                <a16:creationId xmlns:a16="http://schemas.microsoft.com/office/drawing/2014/main" id="{F88EF435-B3A1-F99D-6345-7674E143F473}"/>
              </a:ext>
            </a:extLst>
          </p:cNvPr>
          <p:cNvSpPr/>
          <p:nvPr/>
        </p:nvSpPr>
        <p:spPr>
          <a:xfrm>
            <a:off x="10404909" y="2751870"/>
            <a:ext cx="1187583" cy="677130"/>
          </a:xfrm>
          <a:prstGeom prst="roundRect">
            <a:avLst>
              <a:gd name="adj" fmla="val 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egional Change Team</a:t>
            </a:r>
          </a:p>
        </p:txBody>
      </p:sp>
      <p:cxnSp>
        <p:nvCxnSpPr>
          <p:cNvPr id="86" name="Connector: Elbow 85">
            <a:extLst>
              <a:ext uri="{FF2B5EF4-FFF2-40B4-BE49-F238E27FC236}">
                <a16:creationId xmlns:a16="http://schemas.microsoft.com/office/drawing/2014/main" id="{B41972BD-6609-6E11-6FB7-F19A3A756A68}"/>
              </a:ext>
            </a:extLst>
          </p:cNvPr>
          <p:cNvCxnSpPr>
            <a:cxnSpLocks/>
            <a:stCxn id="83" idx="0"/>
            <a:endCxn id="8" idx="2"/>
          </p:cNvCxnSpPr>
          <p:nvPr/>
        </p:nvCxnSpPr>
        <p:spPr>
          <a:xfrm rot="16200000" flipV="1">
            <a:off x="8676263" y="90390"/>
            <a:ext cx="308129" cy="43130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44DA8A1-562B-F359-9288-C3C5329F84E4}"/>
              </a:ext>
            </a:extLst>
          </p:cNvPr>
          <p:cNvCxnSpPr>
            <a:cxnSpLocks/>
            <a:stCxn id="7" idx="0"/>
            <a:endCxn id="109" idx="2"/>
          </p:cNvCxnSpPr>
          <p:nvPr/>
        </p:nvCxnSpPr>
        <p:spPr>
          <a:xfrm flipH="1" flipV="1">
            <a:off x="6673811" y="1115900"/>
            <a:ext cx="1443" cy="12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1217FE4-102B-DF02-DD95-145A40E632B7}"/>
              </a:ext>
            </a:extLst>
          </p:cNvPr>
          <p:cNvCxnSpPr>
            <a:cxnSpLocks/>
            <a:stCxn id="8" idx="0"/>
            <a:endCxn id="7" idx="2"/>
          </p:cNvCxnSpPr>
          <p:nvPr/>
        </p:nvCxnSpPr>
        <p:spPr>
          <a:xfrm flipV="1">
            <a:off x="6673811" y="1604370"/>
            <a:ext cx="1443" cy="122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FB248E0-6D48-BB62-C53C-02EA00220295}"/>
              </a:ext>
            </a:extLst>
          </p:cNvPr>
          <p:cNvSpPr/>
          <p:nvPr/>
        </p:nvSpPr>
        <p:spPr>
          <a:xfrm>
            <a:off x="2164376" y="750140"/>
            <a:ext cx="9018869" cy="365760"/>
          </a:xfrm>
          <a:prstGeom prst="rect">
            <a:avLst/>
          </a:prstGeom>
          <a:solidFill>
            <a:schemeClr val="accent5">
              <a:lumMod val="40000"/>
              <a:lumOff val="60000"/>
              <a:alpha val="7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Regional Program Director</a:t>
            </a:r>
          </a:p>
        </p:txBody>
      </p:sp>
      <p:sp>
        <p:nvSpPr>
          <p:cNvPr id="5" name="Rectangle 4">
            <a:extLst>
              <a:ext uri="{FF2B5EF4-FFF2-40B4-BE49-F238E27FC236}">
                <a16:creationId xmlns:a16="http://schemas.microsoft.com/office/drawing/2014/main" id="{ED5BF88F-244F-6DFC-AD18-CB52B1845EA4}"/>
              </a:ext>
            </a:extLst>
          </p:cNvPr>
          <p:cNvSpPr/>
          <p:nvPr/>
        </p:nvSpPr>
        <p:spPr>
          <a:xfrm>
            <a:off x="2219741"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6" name="Rectangle 5">
            <a:extLst>
              <a:ext uri="{FF2B5EF4-FFF2-40B4-BE49-F238E27FC236}">
                <a16:creationId xmlns:a16="http://schemas.microsoft.com/office/drawing/2014/main" id="{BE670DDD-267D-636A-2C0E-F4BA28E4E468}"/>
              </a:ext>
            </a:extLst>
          </p:cNvPr>
          <p:cNvSpPr/>
          <p:nvPr/>
        </p:nvSpPr>
        <p:spPr>
          <a:xfrm>
            <a:off x="4192097" y="2751871"/>
            <a:ext cx="1847327" cy="3386118"/>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9" name="Rectangle 8">
            <a:extLst>
              <a:ext uri="{FF2B5EF4-FFF2-40B4-BE49-F238E27FC236}">
                <a16:creationId xmlns:a16="http://schemas.microsoft.com/office/drawing/2014/main" id="{7B4EAAB2-A0A3-D165-5020-65DEDF6889B8}"/>
              </a:ext>
            </a:extLst>
          </p:cNvPr>
          <p:cNvSpPr/>
          <p:nvPr/>
        </p:nvSpPr>
        <p:spPr>
          <a:xfrm>
            <a:off x="6185283"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5" name="Rectangle 14">
            <a:extLst>
              <a:ext uri="{FF2B5EF4-FFF2-40B4-BE49-F238E27FC236}">
                <a16:creationId xmlns:a16="http://schemas.microsoft.com/office/drawing/2014/main" id="{5D35EE44-8D4C-7480-0305-66599D98700F}"/>
              </a:ext>
            </a:extLst>
          </p:cNvPr>
          <p:cNvSpPr/>
          <p:nvPr/>
        </p:nvSpPr>
        <p:spPr>
          <a:xfrm>
            <a:off x="8180297" y="2751870"/>
            <a:ext cx="1847327" cy="3386119"/>
          </a:xfrm>
          <a:prstGeom prst="rect">
            <a:avLst/>
          </a:prstGeom>
          <a:solidFill>
            <a:schemeClr val="bg1">
              <a:lumMod val="85000"/>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endParaRPr lang="en-US" sz="900" b="1">
              <a:solidFill>
                <a:srgbClr val="C00000"/>
              </a:solidFill>
              <a:latin typeface="+mj-lt"/>
              <a:cs typeface="Calibri" panose="020F0502020204030204" pitchFamily="34" charset="0"/>
            </a:endParaRPr>
          </a:p>
        </p:txBody>
      </p:sp>
      <p:sp>
        <p:nvSpPr>
          <p:cNvPr id="17" name="Rectangle 16">
            <a:extLst>
              <a:ext uri="{FF2B5EF4-FFF2-40B4-BE49-F238E27FC236}">
                <a16:creationId xmlns:a16="http://schemas.microsoft.com/office/drawing/2014/main" id="{F2C8522C-1B77-81CD-46D9-1F4E6BB1929B}"/>
              </a:ext>
            </a:extLst>
          </p:cNvPr>
          <p:cNvSpPr/>
          <p:nvPr/>
        </p:nvSpPr>
        <p:spPr>
          <a:xfrm>
            <a:off x="2319576" y="925416"/>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7" name="Rectangle 36">
            <a:extLst>
              <a:ext uri="{FF2B5EF4-FFF2-40B4-BE49-F238E27FC236}">
                <a16:creationId xmlns:a16="http://schemas.microsoft.com/office/drawing/2014/main" id="{5A5B9C94-25C9-04E9-56B4-A71733C281B7}"/>
              </a:ext>
            </a:extLst>
          </p:cNvPr>
          <p:cNvSpPr/>
          <p:nvPr/>
        </p:nvSpPr>
        <p:spPr>
          <a:xfrm>
            <a:off x="2319576" y="1408998"/>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39" name="Rectangle 38">
            <a:extLst>
              <a:ext uri="{FF2B5EF4-FFF2-40B4-BE49-F238E27FC236}">
                <a16:creationId xmlns:a16="http://schemas.microsoft.com/office/drawing/2014/main" id="{FAD8652D-A490-7FF4-D082-F4198BCF47F6}"/>
              </a:ext>
            </a:extLst>
          </p:cNvPr>
          <p:cNvSpPr/>
          <p:nvPr/>
        </p:nvSpPr>
        <p:spPr>
          <a:xfrm>
            <a:off x="2319576" y="1907113"/>
            <a:ext cx="8754729" cy="161595"/>
          </a:xfrm>
          <a:prstGeom prst="rect">
            <a:avLst/>
          </a:prstGeom>
          <a:solidFill>
            <a:schemeClr val="bg1">
              <a:alpha val="7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C00000"/>
              </a:solidFill>
              <a:effectLst/>
              <a:uLnTx/>
              <a:uFillTx/>
              <a:latin typeface="+mj-lt"/>
              <a:ea typeface="+mn-ea"/>
              <a:cs typeface="Calibri" panose="020F0502020204030204" pitchFamily="34" charset="0"/>
            </a:endParaRPr>
          </a:p>
        </p:txBody>
      </p:sp>
      <p:sp>
        <p:nvSpPr>
          <p:cNvPr id="16" name="TextBox 15">
            <a:extLst>
              <a:ext uri="{FF2B5EF4-FFF2-40B4-BE49-F238E27FC236}">
                <a16:creationId xmlns:a16="http://schemas.microsoft.com/office/drawing/2014/main" id="{25B766D7-32C8-C5AD-B831-C4FFB7C0504C}"/>
              </a:ext>
            </a:extLst>
          </p:cNvPr>
          <p:cNvSpPr txBox="1"/>
          <p:nvPr/>
        </p:nvSpPr>
        <p:spPr>
          <a:xfrm>
            <a:off x="10400051" y="2985183"/>
            <a:ext cx="1197297" cy="200055"/>
          </a:xfrm>
          <a:prstGeom prst="rect">
            <a:avLst/>
          </a:prstGeom>
          <a:noFill/>
        </p:spPr>
        <p:txBody>
          <a:bodyPr wrap="square">
            <a:spAutoFit/>
          </a:bodyPr>
          <a:lstStyle/>
          <a:p>
            <a:r>
              <a:rPr lang="en-US" sz="700" b="1" dirty="0">
                <a:solidFill>
                  <a:schemeClr val="bg1"/>
                </a:solidFill>
              </a:rPr>
              <a:t>Sarah Wall</a:t>
            </a:r>
          </a:p>
        </p:txBody>
      </p:sp>
      <p:sp>
        <p:nvSpPr>
          <p:cNvPr id="21" name="TextBox 20">
            <a:extLst>
              <a:ext uri="{FF2B5EF4-FFF2-40B4-BE49-F238E27FC236}">
                <a16:creationId xmlns:a16="http://schemas.microsoft.com/office/drawing/2014/main" id="{FE6904DA-92FE-5DF6-C481-8195878AE273}"/>
              </a:ext>
            </a:extLst>
          </p:cNvPr>
          <p:cNvSpPr txBox="1"/>
          <p:nvPr/>
        </p:nvSpPr>
        <p:spPr>
          <a:xfrm>
            <a:off x="2151508" y="4343997"/>
            <a:ext cx="1546271" cy="200055"/>
          </a:xfrm>
          <a:prstGeom prst="rect">
            <a:avLst/>
          </a:prstGeom>
          <a:noFill/>
        </p:spPr>
        <p:txBody>
          <a:bodyPr wrap="square">
            <a:spAutoFit/>
          </a:bodyPr>
          <a:lstStyle/>
          <a:p>
            <a:r>
              <a:rPr lang="en-US" sz="700" b="1" dirty="0" err="1">
                <a:solidFill>
                  <a:schemeClr val="accent1"/>
                </a:solidFill>
                <a:latin typeface="+mj-lt"/>
              </a:rPr>
              <a:t>Moeen</a:t>
            </a:r>
            <a:r>
              <a:rPr lang="en-US" sz="700" b="1" dirty="0">
                <a:solidFill>
                  <a:schemeClr val="accent1"/>
                </a:solidFill>
                <a:latin typeface="+mj-lt"/>
              </a:rPr>
              <a:t> Rao</a:t>
            </a:r>
          </a:p>
        </p:txBody>
      </p:sp>
      <p:sp>
        <p:nvSpPr>
          <p:cNvPr id="28" name="TextBox 27">
            <a:extLst>
              <a:ext uri="{FF2B5EF4-FFF2-40B4-BE49-F238E27FC236}">
                <a16:creationId xmlns:a16="http://schemas.microsoft.com/office/drawing/2014/main" id="{5F05E18F-1517-DFA3-4605-3749F3E157B7}"/>
              </a:ext>
            </a:extLst>
          </p:cNvPr>
          <p:cNvSpPr txBox="1"/>
          <p:nvPr/>
        </p:nvSpPr>
        <p:spPr>
          <a:xfrm>
            <a:off x="4192097" y="4339085"/>
            <a:ext cx="1742187" cy="200055"/>
          </a:xfrm>
          <a:prstGeom prst="rect">
            <a:avLst/>
          </a:prstGeom>
          <a:noFill/>
        </p:spPr>
        <p:txBody>
          <a:bodyPr wrap="square">
            <a:spAutoFit/>
          </a:bodyPr>
          <a:lstStyle/>
          <a:p>
            <a:r>
              <a:rPr lang="en-US" sz="700" b="1" dirty="0">
                <a:solidFill>
                  <a:schemeClr val="accent1"/>
                </a:solidFill>
                <a:latin typeface="+mj-lt"/>
              </a:rPr>
              <a:t>Simon Wichmann Matthiessen</a:t>
            </a:r>
          </a:p>
        </p:txBody>
      </p:sp>
      <p:sp>
        <p:nvSpPr>
          <p:cNvPr id="30" name="TextBox 29">
            <a:extLst>
              <a:ext uri="{FF2B5EF4-FFF2-40B4-BE49-F238E27FC236}">
                <a16:creationId xmlns:a16="http://schemas.microsoft.com/office/drawing/2014/main" id="{ED5D4FED-6EE6-BFE1-4141-847CBF7C6B18}"/>
              </a:ext>
            </a:extLst>
          </p:cNvPr>
          <p:cNvSpPr txBox="1"/>
          <p:nvPr/>
        </p:nvSpPr>
        <p:spPr>
          <a:xfrm>
            <a:off x="2350561" y="1877496"/>
            <a:ext cx="6097604" cy="200055"/>
          </a:xfrm>
          <a:prstGeom prst="rect">
            <a:avLst/>
          </a:prstGeom>
          <a:noFill/>
        </p:spPr>
        <p:txBody>
          <a:bodyPr wrap="square">
            <a:spAutoFit/>
          </a:bodyPr>
          <a:lstStyle/>
          <a:p>
            <a:r>
              <a:rPr lang="en-US" sz="700" b="1" dirty="0">
                <a:solidFill>
                  <a:schemeClr val="accent1"/>
                </a:solidFill>
              </a:rPr>
              <a:t>Abhishek Mehta</a:t>
            </a:r>
          </a:p>
        </p:txBody>
      </p:sp>
      <p:sp>
        <p:nvSpPr>
          <p:cNvPr id="32" name="TextBox 31">
            <a:extLst>
              <a:ext uri="{FF2B5EF4-FFF2-40B4-BE49-F238E27FC236}">
                <a16:creationId xmlns:a16="http://schemas.microsoft.com/office/drawing/2014/main" id="{2B9A5F79-43EA-CF75-9F4C-31EE1654BE34}"/>
              </a:ext>
            </a:extLst>
          </p:cNvPr>
          <p:cNvSpPr txBox="1"/>
          <p:nvPr/>
        </p:nvSpPr>
        <p:spPr>
          <a:xfrm>
            <a:off x="6196827" y="4938832"/>
            <a:ext cx="1311442" cy="200055"/>
          </a:xfrm>
          <a:prstGeom prst="rect">
            <a:avLst/>
          </a:prstGeom>
          <a:noFill/>
        </p:spPr>
        <p:txBody>
          <a:bodyPr wrap="square">
            <a:spAutoFit/>
          </a:bodyPr>
          <a:lstStyle/>
          <a:p>
            <a:r>
              <a:rPr lang="en-US" sz="700" b="1" dirty="0" err="1">
                <a:solidFill>
                  <a:schemeClr val="accent1"/>
                </a:solidFill>
                <a:latin typeface="+mj-lt"/>
              </a:rPr>
              <a:t>Abdurahman</a:t>
            </a:r>
            <a:r>
              <a:rPr lang="en-US" sz="700" b="1" dirty="0">
                <a:solidFill>
                  <a:schemeClr val="accent1"/>
                </a:solidFill>
                <a:latin typeface="+mj-lt"/>
              </a:rPr>
              <a:t> </a:t>
            </a:r>
            <a:r>
              <a:rPr lang="en-US" sz="700" b="1" dirty="0" err="1">
                <a:solidFill>
                  <a:schemeClr val="accent1"/>
                </a:solidFill>
                <a:latin typeface="+mj-lt"/>
              </a:rPr>
              <a:t>Sahin</a:t>
            </a:r>
            <a:endParaRPr lang="en-US" sz="700" b="1" dirty="0">
              <a:solidFill>
                <a:schemeClr val="accent1"/>
              </a:solidFill>
              <a:latin typeface="+mj-lt"/>
            </a:endParaRPr>
          </a:p>
        </p:txBody>
      </p:sp>
      <p:sp>
        <p:nvSpPr>
          <p:cNvPr id="46" name="TextBox 45">
            <a:extLst>
              <a:ext uri="{FF2B5EF4-FFF2-40B4-BE49-F238E27FC236}">
                <a16:creationId xmlns:a16="http://schemas.microsoft.com/office/drawing/2014/main" id="{662832A0-9798-5299-ED0F-5FEE96602FF4}"/>
              </a:ext>
            </a:extLst>
          </p:cNvPr>
          <p:cNvSpPr txBox="1"/>
          <p:nvPr/>
        </p:nvSpPr>
        <p:spPr>
          <a:xfrm>
            <a:off x="6180186" y="4352085"/>
            <a:ext cx="1645153" cy="200055"/>
          </a:xfrm>
          <a:prstGeom prst="rect">
            <a:avLst/>
          </a:prstGeom>
          <a:noFill/>
        </p:spPr>
        <p:txBody>
          <a:bodyPr wrap="square">
            <a:spAutoFit/>
          </a:bodyPr>
          <a:lstStyle/>
          <a:p>
            <a:r>
              <a:rPr lang="en-US" sz="700" b="1" dirty="0">
                <a:solidFill>
                  <a:schemeClr val="accent1"/>
                </a:solidFill>
                <a:latin typeface="+mj-lt"/>
              </a:rPr>
              <a:t>Harish Manjunath</a:t>
            </a:r>
          </a:p>
        </p:txBody>
      </p:sp>
      <p:sp>
        <p:nvSpPr>
          <p:cNvPr id="48" name="TextBox 47">
            <a:extLst>
              <a:ext uri="{FF2B5EF4-FFF2-40B4-BE49-F238E27FC236}">
                <a16:creationId xmlns:a16="http://schemas.microsoft.com/office/drawing/2014/main" id="{9040C6C8-63F5-4C57-9042-55AF44043C73}"/>
              </a:ext>
            </a:extLst>
          </p:cNvPr>
          <p:cNvSpPr txBox="1"/>
          <p:nvPr/>
        </p:nvSpPr>
        <p:spPr>
          <a:xfrm>
            <a:off x="4152906" y="1878134"/>
            <a:ext cx="1087767" cy="200055"/>
          </a:xfrm>
          <a:prstGeom prst="rect">
            <a:avLst/>
          </a:prstGeom>
          <a:noFill/>
        </p:spPr>
        <p:txBody>
          <a:bodyPr wrap="square">
            <a:spAutoFit/>
          </a:bodyPr>
          <a:lstStyle/>
          <a:p>
            <a:r>
              <a:rPr lang="en-US" sz="700" b="1" dirty="0">
                <a:solidFill>
                  <a:schemeClr val="accent1"/>
                </a:solidFill>
              </a:rPr>
              <a:t>Swati </a:t>
            </a:r>
            <a:r>
              <a:rPr lang="en-US" sz="700" b="1" dirty="0" err="1">
                <a:solidFill>
                  <a:schemeClr val="accent1"/>
                </a:solidFill>
              </a:rPr>
              <a:t>Dange</a:t>
            </a:r>
            <a:endParaRPr lang="en-US" sz="700" b="1" dirty="0">
              <a:solidFill>
                <a:schemeClr val="accent1"/>
              </a:solidFill>
            </a:endParaRPr>
          </a:p>
        </p:txBody>
      </p:sp>
      <p:sp>
        <p:nvSpPr>
          <p:cNvPr id="50" name="TextBox 49">
            <a:extLst>
              <a:ext uri="{FF2B5EF4-FFF2-40B4-BE49-F238E27FC236}">
                <a16:creationId xmlns:a16="http://schemas.microsoft.com/office/drawing/2014/main" id="{EE32896F-34B9-DB05-D431-2D8A9BE24696}"/>
              </a:ext>
            </a:extLst>
          </p:cNvPr>
          <p:cNvSpPr txBox="1"/>
          <p:nvPr/>
        </p:nvSpPr>
        <p:spPr>
          <a:xfrm>
            <a:off x="3300891" y="1880381"/>
            <a:ext cx="805369" cy="200055"/>
          </a:xfrm>
          <a:prstGeom prst="rect">
            <a:avLst/>
          </a:prstGeom>
          <a:noFill/>
        </p:spPr>
        <p:txBody>
          <a:bodyPr wrap="square">
            <a:spAutoFit/>
          </a:bodyPr>
          <a:lstStyle/>
          <a:p>
            <a:r>
              <a:rPr lang="en-US" sz="700" b="1" dirty="0">
                <a:solidFill>
                  <a:schemeClr val="accent1"/>
                </a:solidFill>
              </a:rPr>
              <a:t>Sunil Mistry</a:t>
            </a:r>
          </a:p>
        </p:txBody>
      </p:sp>
      <p:sp>
        <p:nvSpPr>
          <p:cNvPr id="18" name="TextBox 17">
            <a:extLst>
              <a:ext uri="{FF2B5EF4-FFF2-40B4-BE49-F238E27FC236}">
                <a16:creationId xmlns:a16="http://schemas.microsoft.com/office/drawing/2014/main" id="{9E19CE49-CA06-B79A-6C1E-AE1AFDB36B6F}"/>
              </a:ext>
            </a:extLst>
          </p:cNvPr>
          <p:cNvSpPr txBox="1"/>
          <p:nvPr/>
        </p:nvSpPr>
        <p:spPr>
          <a:xfrm>
            <a:off x="2202227" y="5844317"/>
            <a:ext cx="1311442" cy="200055"/>
          </a:xfrm>
          <a:prstGeom prst="rect">
            <a:avLst/>
          </a:prstGeom>
          <a:noFill/>
        </p:spPr>
        <p:txBody>
          <a:bodyPr wrap="square">
            <a:spAutoFit/>
          </a:bodyPr>
          <a:lstStyle/>
          <a:p>
            <a:r>
              <a:rPr lang="en-US" sz="700" b="1" dirty="0" err="1">
                <a:solidFill>
                  <a:schemeClr val="accent1"/>
                </a:solidFill>
                <a:latin typeface="+mj-lt"/>
              </a:rPr>
              <a:t>Annupriya</a:t>
            </a:r>
            <a:endParaRPr lang="en-US" sz="700" b="1" dirty="0">
              <a:solidFill>
                <a:schemeClr val="accent1"/>
              </a:solidFill>
              <a:latin typeface="+mj-lt"/>
            </a:endParaRPr>
          </a:p>
        </p:txBody>
      </p:sp>
    </p:spTree>
    <p:extLst>
      <p:ext uri="{BB962C8B-B14F-4D97-AF65-F5344CB8AC3E}">
        <p14:creationId xmlns:p14="http://schemas.microsoft.com/office/powerpoint/2010/main" val="22851094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B855BB-0A27-70CF-129C-3869E6EC350A}"/>
              </a:ext>
            </a:extLst>
          </p:cNvPr>
          <p:cNvSpPr>
            <a:spLocks noGrp="1"/>
          </p:cNvSpPr>
          <p:nvPr>
            <p:ph type="body" sz="quarter" idx="11"/>
          </p:nvPr>
        </p:nvSpPr>
        <p:spPr>
          <a:xfrm>
            <a:off x="516000" y="4188146"/>
            <a:ext cx="11160000" cy="2183297"/>
          </a:xfrm>
        </p:spPr>
        <p:txBody>
          <a:bodyPr/>
          <a:lstStyle/>
          <a:p>
            <a:pPr marL="342900" indent="-342900">
              <a:buFont typeface="Arial" panose="020B0604020202020204" pitchFamily="34" charset="0"/>
              <a:buChar char="•"/>
            </a:pPr>
            <a:r>
              <a:rPr lang="en-IN" dirty="0"/>
              <a:t>DLs</a:t>
            </a:r>
          </a:p>
          <a:p>
            <a:pPr marL="342900" indent="-342900">
              <a:buFont typeface="Arial" panose="020B0604020202020204" pitchFamily="34" charset="0"/>
              <a:buChar char="•"/>
            </a:pPr>
            <a:r>
              <a:rPr lang="en-IN" dirty="0"/>
              <a:t>SharePoint</a:t>
            </a:r>
          </a:p>
          <a:p>
            <a:pPr marL="342900" indent="-342900">
              <a:buFont typeface="Arial" panose="020B0604020202020204" pitchFamily="34" charset="0"/>
              <a:buChar char="•"/>
            </a:pPr>
            <a:r>
              <a:rPr lang="en-IN" dirty="0"/>
              <a:t>Asana</a:t>
            </a:r>
          </a:p>
          <a:p>
            <a:pPr marL="342900" indent="-342900">
              <a:buFont typeface="Arial" panose="020B0604020202020204" pitchFamily="34" charset="0"/>
              <a:buChar char="•"/>
            </a:pPr>
            <a:r>
              <a:rPr lang="en-IN" dirty="0"/>
              <a:t>DDF</a:t>
            </a:r>
          </a:p>
          <a:p>
            <a:pPr marL="342900" indent="-342900">
              <a:buFont typeface="Arial" panose="020B0604020202020204" pitchFamily="34" charset="0"/>
              <a:buChar char="•"/>
            </a:pPr>
            <a:r>
              <a:rPr lang="en-IN" dirty="0"/>
              <a:t>AppStream</a:t>
            </a:r>
          </a:p>
          <a:p>
            <a:pPr marL="342900" indent="-342900">
              <a:buFont typeface="Arial" panose="020B0604020202020204" pitchFamily="34" charset="0"/>
              <a:buChar char="•"/>
            </a:pPr>
            <a:r>
              <a:rPr lang="en-IN" dirty="0"/>
              <a:t>SAP system</a:t>
            </a:r>
          </a:p>
        </p:txBody>
      </p:sp>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Access related to </a:t>
            </a:r>
            <a:r>
              <a:rPr lang="en-US" dirty="0" err="1"/>
              <a:t>Mone</a:t>
            </a:r>
            <a:r>
              <a:rPr lang="en-US"/>
              <a:t>-G</a:t>
            </a:r>
            <a:endParaRPr lang="en-US" dirty="0"/>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0" lang="ja-JP" altLang="en-US" sz="1100" b="0" i="0" u="none" strike="noStrike" kern="1200" cap="none" spc="0" normalizeH="0" baseline="0" noProof="0" smtClean="0">
                <a:ln>
                  <a:noFill/>
                </a:ln>
                <a:solidFill>
                  <a:prstClr val="black"/>
                </a:solidFill>
                <a:effectLst/>
                <a:uLnTx/>
                <a:uFillTx/>
                <a:latin typeface="Arial" panose="020B0604020202020204"/>
                <a:ea typeface="ＭＳ Ｐゴシック"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Mitsubishi Chemical Group</a:t>
            </a:r>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34894699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chor="t">
            <a:normAutofit/>
          </a:bodyPr>
          <a:lstStyle/>
          <a:p>
            <a:r>
              <a:rPr lang="en-IN"/>
              <a:t>Distribution lists</a:t>
            </a:r>
            <a:endParaRPr lang="en-IN" dirty="0"/>
          </a:p>
        </p:txBody>
      </p:sp>
      <p:sp>
        <p:nvSpPr>
          <p:cNvPr id="7" name="スライド番号プレースホルダー 3">
            <a:extLst>
              <a:ext uri="{FF2B5EF4-FFF2-40B4-BE49-F238E27FC236}">
                <a16:creationId xmlns:a16="http://schemas.microsoft.com/office/drawing/2014/main" id="{BA828AE2-E43C-E903-090D-4E1D766F5552}"/>
              </a:ext>
            </a:extLst>
          </p:cNvPr>
          <p:cNvSpPr>
            <a:spLocks noGrp="1"/>
          </p:cNvSpPr>
          <p:nvPr>
            <p:ph type="sldNum" sz="quarter" idx="4"/>
          </p:nvPr>
        </p:nvSpPr>
        <p:spPr/>
        <p:txBody>
          <a:bodyPr vert="horz" lIns="0" tIns="45720" rIns="91440" bIns="45720" rtlCol="0" anchor="t" anchorCtr="0">
            <a:normAutofit/>
          </a:bodyPr>
          <a:lstStyle>
            <a:lvl1pPr algn="l">
              <a:defRPr sz="1100">
                <a:solidFill>
                  <a:schemeClr val="tx1"/>
                </a:solidFill>
                <a:latin typeface="+mj-lt"/>
              </a:defRPr>
            </a:lvl1pPr>
          </a:lstStyle>
          <a:p>
            <a:pPr>
              <a:lnSpc>
                <a:spcPct val="90000"/>
              </a:lnSpc>
              <a:spcAft>
                <a:spcPts val="600"/>
              </a:spcAft>
            </a:pPr>
            <a:fld id="{48394356-8693-4048-8EAF-2BF05B04AA80}" type="slidenum">
              <a:rPr lang="ja-JP" altLang="en-US" sz="1000" smtClean="0"/>
              <a:pPr>
                <a:lnSpc>
                  <a:spcPct val="90000"/>
                </a:lnSpc>
                <a:spcAft>
                  <a:spcPts val="600"/>
                </a:spcAft>
              </a:pPr>
              <a:t>22</a:t>
            </a:fld>
            <a:endParaRPr lang="ja-JP" altLang="en-US" sz="1000"/>
          </a:p>
        </p:txBody>
      </p:sp>
      <p:sp>
        <p:nvSpPr>
          <p:cNvPr id="8" name="フッター プレースホルダー 2">
            <a:extLst>
              <a:ext uri="{FF2B5EF4-FFF2-40B4-BE49-F238E27FC236}">
                <a16:creationId xmlns:a16="http://schemas.microsoft.com/office/drawing/2014/main" id="{0FDFD909-CE3C-C05D-C0FE-D08F0036E475}"/>
              </a:ext>
            </a:extLst>
          </p:cNvPr>
          <p:cNvSpPr>
            <a:spLocks noGrp="1"/>
          </p:cNvSpPr>
          <p:nvPr>
            <p:ph type="ftr" sz="quarter" idx="3"/>
          </p:nvPr>
        </p:nvSpPr>
        <p:spPr/>
        <p:txBody>
          <a:bodyPr>
            <a:normAutofit/>
          </a:bodyPr>
          <a:lstStyle>
            <a:lvl1pPr algn="l">
              <a:defRPr sz="1100">
                <a:solidFill>
                  <a:schemeClr val="tx1"/>
                </a:solidFill>
              </a:defRPr>
            </a:lvl1pPr>
          </a:lstStyle>
          <a:p>
            <a:pPr>
              <a:lnSpc>
                <a:spcPct val="90000"/>
              </a:lnSpc>
              <a:spcAft>
                <a:spcPts val="600"/>
              </a:spcAft>
            </a:pPr>
            <a:r>
              <a:rPr lang="en-US" altLang="ja-JP" sz="1000"/>
              <a:t>Mitsubishi Chemical Group</a:t>
            </a:r>
            <a:endParaRPr lang="ja-JP" altLang="en-US" sz="1000"/>
          </a:p>
        </p:txBody>
      </p:sp>
      <p:graphicFrame>
        <p:nvGraphicFramePr>
          <p:cNvPr id="11" name="Text Placeholder 8">
            <a:extLst>
              <a:ext uri="{FF2B5EF4-FFF2-40B4-BE49-F238E27FC236}">
                <a16:creationId xmlns:a16="http://schemas.microsoft.com/office/drawing/2014/main" id="{DCE48E52-E0BC-668E-F1AC-DA19B68E45BE}"/>
              </a:ext>
            </a:extLst>
          </p:cNvPr>
          <p:cNvGraphicFramePr/>
          <p:nvPr>
            <p:extLst>
              <p:ext uri="{D42A27DB-BD31-4B8C-83A1-F6EECF244321}">
                <p14:modId xmlns:p14="http://schemas.microsoft.com/office/powerpoint/2010/main" val="2124134202"/>
              </p:ext>
            </p:extLst>
          </p:nvPr>
        </p:nvGraphicFramePr>
        <p:xfrm>
          <a:off x="484094" y="1138518"/>
          <a:ext cx="11327240" cy="5004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20469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chor="t">
            <a:normAutofit/>
          </a:bodyPr>
          <a:lstStyle/>
          <a:p>
            <a:r>
              <a:rPr lang="en-IN" dirty="0"/>
              <a:t>Active Distribution lists - Global</a:t>
            </a:r>
          </a:p>
        </p:txBody>
      </p:sp>
      <p:sp>
        <p:nvSpPr>
          <p:cNvPr id="5" name="スライド番号プレースホルダー 3">
            <a:extLst>
              <a:ext uri="{FF2B5EF4-FFF2-40B4-BE49-F238E27FC236}">
                <a16:creationId xmlns:a16="http://schemas.microsoft.com/office/drawing/2014/main" id="{291EDBAC-0DB4-8710-1136-3522D17D37E4}"/>
              </a:ext>
            </a:extLst>
          </p:cNvPr>
          <p:cNvSpPr>
            <a:spLocks noGrp="1"/>
          </p:cNvSpPr>
          <p:nvPr>
            <p:ph type="sldNum" sz="quarter" idx="4"/>
          </p:nvPr>
        </p:nvSpPr>
        <p:spPr/>
        <p:txBody>
          <a:bodyPr vert="horz" lIns="0" tIns="45720" rIns="91440" bIns="45720" rtlCol="0" anchor="t" anchorCtr="0">
            <a:normAutofit/>
          </a:bodyPr>
          <a:lstStyle>
            <a:lvl1pPr algn="l">
              <a:defRPr sz="1100">
                <a:solidFill>
                  <a:schemeClr val="tx1"/>
                </a:solidFill>
                <a:latin typeface="+mj-lt"/>
              </a:defRPr>
            </a:lvl1pPr>
          </a:lstStyle>
          <a:p>
            <a:pPr>
              <a:lnSpc>
                <a:spcPct val="90000"/>
              </a:lnSpc>
              <a:spcAft>
                <a:spcPts val="600"/>
              </a:spcAft>
            </a:pPr>
            <a:fld id="{48394356-8693-4048-8EAF-2BF05B04AA80}" type="slidenum">
              <a:rPr lang="ja-JP" altLang="en-US" sz="1000" smtClean="0"/>
              <a:pPr>
                <a:lnSpc>
                  <a:spcPct val="90000"/>
                </a:lnSpc>
                <a:spcAft>
                  <a:spcPts val="600"/>
                </a:spcAft>
              </a:pPr>
              <a:t>23</a:t>
            </a:fld>
            <a:endParaRPr lang="ja-JP" altLang="en-US" sz="1000"/>
          </a:p>
        </p:txBody>
      </p:sp>
      <p:sp>
        <p:nvSpPr>
          <p:cNvPr id="7" name="フッター プレースホルダー 2">
            <a:extLst>
              <a:ext uri="{FF2B5EF4-FFF2-40B4-BE49-F238E27FC236}">
                <a16:creationId xmlns:a16="http://schemas.microsoft.com/office/drawing/2014/main" id="{0307CD6A-C484-4123-D08E-672FA1B43B67}"/>
              </a:ext>
            </a:extLst>
          </p:cNvPr>
          <p:cNvSpPr>
            <a:spLocks noGrp="1"/>
          </p:cNvSpPr>
          <p:nvPr>
            <p:ph type="ftr" sz="quarter" idx="3"/>
          </p:nvPr>
        </p:nvSpPr>
        <p:spPr/>
        <p:txBody>
          <a:bodyPr>
            <a:normAutofit/>
          </a:bodyPr>
          <a:lstStyle>
            <a:lvl1pPr algn="l">
              <a:defRPr sz="1100">
                <a:solidFill>
                  <a:schemeClr val="tx1"/>
                </a:solidFill>
              </a:defRPr>
            </a:lvl1pPr>
          </a:lstStyle>
          <a:p>
            <a:pPr>
              <a:lnSpc>
                <a:spcPct val="90000"/>
              </a:lnSpc>
              <a:spcAft>
                <a:spcPts val="600"/>
              </a:spcAft>
            </a:pPr>
            <a:r>
              <a:rPr lang="en-US" altLang="ja-JP" sz="1000"/>
              <a:t>Mitsubishi Chemical Group</a:t>
            </a:r>
            <a:endParaRPr lang="ja-JP" altLang="en-US" sz="1000"/>
          </a:p>
        </p:txBody>
      </p:sp>
      <p:graphicFrame>
        <p:nvGraphicFramePr>
          <p:cNvPr id="6" name="Table 5">
            <a:extLst>
              <a:ext uri="{FF2B5EF4-FFF2-40B4-BE49-F238E27FC236}">
                <a16:creationId xmlns:a16="http://schemas.microsoft.com/office/drawing/2014/main" id="{51B6FDAD-65D0-46B9-04D0-FA138B0C2C60}"/>
              </a:ext>
            </a:extLst>
          </p:cNvPr>
          <p:cNvGraphicFramePr>
            <a:graphicFrameLocks noGrp="1"/>
          </p:cNvGraphicFramePr>
          <p:nvPr>
            <p:extLst>
              <p:ext uri="{D42A27DB-BD31-4B8C-83A1-F6EECF244321}">
                <p14:modId xmlns:p14="http://schemas.microsoft.com/office/powerpoint/2010/main" val="2089879281"/>
              </p:ext>
            </p:extLst>
          </p:nvPr>
        </p:nvGraphicFramePr>
        <p:xfrm>
          <a:off x="435543" y="1066800"/>
          <a:ext cx="11320916" cy="5306531"/>
        </p:xfrm>
        <a:graphic>
          <a:graphicData uri="http://schemas.openxmlformats.org/drawingml/2006/table">
            <a:tbl>
              <a:tblPr firstRow="1" bandRow="1">
                <a:tableStyleId>{9DCAF9ED-07DC-4A11-8D7F-57B35C25682E}</a:tableStyleId>
              </a:tblPr>
              <a:tblGrid>
                <a:gridCol w="3884982">
                  <a:extLst>
                    <a:ext uri="{9D8B030D-6E8A-4147-A177-3AD203B41FA5}">
                      <a16:colId xmlns:a16="http://schemas.microsoft.com/office/drawing/2014/main" val="967730252"/>
                    </a:ext>
                  </a:extLst>
                </a:gridCol>
                <a:gridCol w="1981720">
                  <a:extLst>
                    <a:ext uri="{9D8B030D-6E8A-4147-A177-3AD203B41FA5}">
                      <a16:colId xmlns:a16="http://schemas.microsoft.com/office/drawing/2014/main" val="2622946096"/>
                    </a:ext>
                  </a:extLst>
                </a:gridCol>
                <a:gridCol w="5454214">
                  <a:extLst>
                    <a:ext uri="{9D8B030D-6E8A-4147-A177-3AD203B41FA5}">
                      <a16:colId xmlns:a16="http://schemas.microsoft.com/office/drawing/2014/main" val="1568800065"/>
                    </a:ext>
                  </a:extLst>
                </a:gridCol>
              </a:tblGrid>
              <a:tr h="456708">
                <a:tc>
                  <a:txBody>
                    <a:bodyPr/>
                    <a:lstStyle/>
                    <a:p>
                      <a:r>
                        <a:rPr lang="en-US" sz="2000"/>
                        <a:t>DL Name</a:t>
                      </a:r>
                    </a:p>
                  </a:txBody>
                  <a:tcPr marL="72000" marR="72000" marT="72000" marB="72000"/>
                </a:tc>
                <a:tc>
                  <a:txBody>
                    <a:bodyPr/>
                    <a:lstStyle/>
                    <a:p>
                      <a:r>
                        <a:rPr lang="en-US" sz="2000"/>
                        <a:t>SPOC</a:t>
                      </a:r>
                    </a:p>
                  </a:txBody>
                  <a:tcPr marL="72000" marR="72000" marT="72000" marB="72000"/>
                </a:tc>
                <a:tc>
                  <a:txBody>
                    <a:bodyPr/>
                    <a:lstStyle/>
                    <a:p>
                      <a:r>
                        <a:rPr lang="en-US" sz="2000"/>
                        <a:t>Remark</a:t>
                      </a:r>
                    </a:p>
                  </a:txBody>
                  <a:tcPr marL="72000" marR="72000" marT="72000" marB="72000"/>
                </a:tc>
                <a:extLst>
                  <a:ext uri="{0D108BD9-81ED-4DB2-BD59-A6C34878D82A}">
                    <a16:rowId xmlns:a16="http://schemas.microsoft.com/office/drawing/2014/main" val="448349436"/>
                  </a:ext>
                </a:extLst>
              </a:tr>
              <a:tr h="419273">
                <a:tc>
                  <a:txBody>
                    <a:bodyPr/>
                    <a:lstStyle/>
                    <a:p>
                      <a:pPr marL="0" algn="l" defTabSz="914400" rtl="0" eaLnBrk="1" fontAlgn="ctr" latinLnBrk="0" hangingPunct="1"/>
                      <a:r>
                        <a:rPr kumimoji="1" lang="en-IN" sz="1700" u="none" kern="1200" dirty="0">
                          <a:solidFill>
                            <a:schemeClr val="dk1"/>
                          </a:solidFill>
                          <a:hlinkClick r:id="rId3">
                            <a:extLst>
                              <a:ext uri="{A12FA001-AC4F-418D-AE19-62706E023703}">
                                <ahyp:hlinkClr xmlns:ahyp="http://schemas.microsoft.com/office/drawing/2018/hyperlinkcolor" val="tx"/>
                              </a:ext>
                            </a:extLst>
                          </a:hlinkClick>
                        </a:rPr>
                        <a:t>DL JP MCG </a:t>
                      </a:r>
                      <a:r>
                        <a:rPr kumimoji="1" lang="en-IN" sz="1700" u="none" kern="1200" dirty="0" err="1">
                          <a:solidFill>
                            <a:schemeClr val="dk1"/>
                          </a:solidFill>
                          <a:hlinkClick r:id="rId3">
                            <a:extLst>
                              <a:ext uri="{A12FA001-AC4F-418D-AE19-62706E023703}">
                                <ahyp:hlinkClr xmlns:ahyp="http://schemas.microsoft.com/office/drawing/2018/hyperlinkcolor" val="tx"/>
                              </a:ext>
                            </a:extLst>
                          </a:hlinkClick>
                        </a:rPr>
                        <a:t>MoneG</a:t>
                      </a:r>
                      <a:r>
                        <a:rPr kumimoji="1" lang="en-IN" sz="1700" u="none" kern="1200" dirty="0">
                          <a:solidFill>
                            <a:schemeClr val="dk1"/>
                          </a:solidFill>
                          <a:hlinkClick r:id="rId3">
                            <a:extLst>
                              <a:ext uri="{A12FA001-AC4F-418D-AE19-62706E023703}">
                                <ahyp:hlinkClr xmlns:ahyp="http://schemas.microsoft.com/office/drawing/2018/hyperlinkcolor" val="tx"/>
                              </a:ext>
                            </a:extLst>
                          </a:hlinkClick>
                        </a:rPr>
                        <a:t> Global Data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Li </a:t>
                      </a:r>
                      <a:r>
                        <a:rPr lang="en-US" sz="1700" b="0" dirty="0" err="1">
                          <a:solidFill>
                            <a:schemeClr val="tx1"/>
                          </a:solidFill>
                        </a:rPr>
                        <a:t>Li</a:t>
                      </a:r>
                      <a:endParaRPr lang="en-US" sz="1700" b="0" dirty="0">
                        <a:solidFill>
                          <a:schemeClr val="tx1"/>
                        </a:solidFill>
                        <a:latin typeface="+mn-lt"/>
                      </a:endParaRP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solidFill>
                            <a:schemeClr val="tx1"/>
                          </a:solidFill>
                        </a:rPr>
                        <a:t>To address the Data migration &amp; governance team</a:t>
                      </a:r>
                      <a:endParaRPr lang="en-US" sz="1700" b="0">
                        <a:solidFill>
                          <a:schemeClr val="tx1"/>
                        </a:solidFill>
                        <a:latin typeface="+mn-lt"/>
                      </a:endParaRPr>
                    </a:p>
                  </a:txBody>
                  <a:tcPr marL="72000" marR="72000" marT="72000" marB="72000"/>
                </a:tc>
                <a:extLst>
                  <a:ext uri="{0D108BD9-81ED-4DB2-BD59-A6C34878D82A}">
                    <a16:rowId xmlns:a16="http://schemas.microsoft.com/office/drawing/2014/main" val="1778568127"/>
                  </a:ext>
                </a:extLst>
              </a:tr>
              <a:tr h="576813">
                <a:tc>
                  <a:txBody>
                    <a:bodyPr/>
                    <a:lstStyle/>
                    <a:p>
                      <a:pPr marL="0" algn="l" defTabSz="914400" rtl="0" eaLnBrk="1" fontAlgn="ctr" latinLnBrk="0" hangingPunct="1"/>
                      <a:r>
                        <a:rPr kumimoji="1" lang="en-IN" sz="1700" u="none" kern="1200" dirty="0">
                          <a:solidFill>
                            <a:schemeClr val="dk1"/>
                          </a:solidFill>
                          <a:hlinkClick r:id="rId4">
                            <a:extLst>
                              <a:ext uri="{A12FA001-AC4F-418D-AE19-62706E023703}">
                                <ahyp:hlinkClr xmlns:ahyp="http://schemas.microsoft.com/office/drawing/2018/hyperlinkcolor" val="tx"/>
                              </a:ext>
                            </a:extLst>
                          </a:hlinkClick>
                        </a:rPr>
                        <a:t>DL JP MCG </a:t>
                      </a:r>
                      <a:r>
                        <a:rPr kumimoji="1" lang="en-IN" sz="1700" u="none" kern="1200" dirty="0" err="1">
                          <a:solidFill>
                            <a:schemeClr val="dk1"/>
                          </a:solidFill>
                          <a:hlinkClick r:id="rId4">
                            <a:extLst>
                              <a:ext uri="{A12FA001-AC4F-418D-AE19-62706E023703}">
                                <ahyp:hlinkClr xmlns:ahyp="http://schemas.microsoft.com/office/drawing/2018/hyperlinkcolor" val="tx"/>
                              </a:ext>
                            </a:extLst>
                          </a:hlinkClick>
                        </a:rPr>
                        <a:t>MoneG</a:t>
                      </a:r>
                      <a:r>
                        <a:rPr kumimoji="1" lang="en-IN" sz="1700" u="none" kern="1200" dirty="0">
                          <a:solidFill>
                            <a:schemeClr val="dk1"/>
                          </a:solidFill>
                          <a:hlinkClick r:id="rId4">
                            <a:extLst>
                              <a:ext uri="{A12FA001-AC4F-418D-AE19-62706E023703}">
                                <ahyp:hlinkClr xmlns:ahyp="http://schemas.microsoft.com/office/drawing/2018/hyperlinkcolor" val="tx"/>
                              </a:ext>
                            </a:extLst>
                          </a:hlinkClick>
                        </a:rPr>
                        <a:t> Global Functional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Karim Ben Aissa</a:t>
                      </a:r>
                      <a:endParaRPr lang="en-US" sz="1700" b="0" dirty="0">
                        <a:solidFill>
                          <a:schemeClr val="tx1"/>
                        </a:solidFill>
                        <a:latin typeface="+mn-lt"/>
                      </a:endParaRP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functional team</a:t>
                      </a:r>
                      <a:endParaRPr lang="en-US" sz="1700" b="0" dirty="0">
                        <a:solidFill>
                          <a:schemeClr val="tx1"/>
                        </a:solidFill>
                        <a:latin typeface="+mn-lt"/>
                      </a:endParaRPr>
                    </a:p>
                  </a:txBody>
                  <a:tcPr marL="72000" marR="72000" marT="72000" marB="72000"/>
                </a:tc>
                <a:extLst>
                  <a:ext uri="{0D108BD9-81ED-4DB2-BD59-A6C34878D82A}">
                    <a16:rowId xmlns:a16="http://schemas.microsoft.com/office/drawing/2014/main" val="4238624937"/>
                  </a:ext>
                </a:extLst>
              </a:tr>
              <a:tr h="419273">
                <a:tc>
                  <a:txBody>
                    <a:bodyPr/>
                    <a:lstStyle/>
                    <a:p>
                      <a:pPr marL="0" algn="l" defTabSz="914400" rtl="0" eaLnBrk="1" fontAlgn="ctr" latinLnBrk="0" hangingPunct="1"/>
                      <a:r>
                        <a:rPr kumimoji="1" lang="en-IN" sz="1700" u="none" kern="1200">
                          <a:solidFill>
                            <a:schemeClr val="dk1"/>
                          </a:solidFill>
                          <a:hlinkClick r:id="rId5">
                            <a:extLst>
                              <a:ext uri="{A12FA001-AC4F-418D-AE19-62706E023703}">
                                <ahyp:hlinkClr xmlns:ahyp="http://schemas.microsoft.com/office/drawing/2018/hyperlinkcolor" val="tx"/>
                              </a:ext>
                            </a:extLst>
                          </a:hlinkClick>
                        </a:rPr>
                        <a:t>DL JP MCG MoneG Global Team</a:t>
                      </a:r>
                      <a:endParaRPr kumimoji="1" lang="en-IN" sz="1700" u="none" kern="120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Amano Hisaya</a:t>
                      </a:r>
                      <a:endParaRPr lang="en-US" sz="1700" b="0">
                        <a:solidFill>
                          <a:schemeClr val="tx1"/>
                        </a:solidFill>
                        <a:latin typeface="+mn-lt"/>
                      </a:endParaRP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whole </a:t>
                      </a:r>
                      <a:r>
                        <a:rPr lang="en-US" sz="1700" b="0" dirty="0" err="1">
                          <a:solidFill>
                            <a:schemeClr val="tx1"/>
                          </a:solidFill>
                        </a:rPr>
                        <a:t>MoneG</a:t>
                      </a:r>
                      <a:r>
                        <a:rPr lang="en-US" sz="1700" b="0" dirty="0">
                          <a:solidFill>
                            <a:schemeClr val="tx1"/>
                          </a:solidFill>
                        </a:rPr>
                        <a:t> Capgemini team</a:t>
                      </a:r>
                      <a:endParaRPr lang="en-US" sz="1700" b="0" dirty="0">
                        <a:solidFill>
                          <a:schemeClr val="tx1"/>
                        </a:solidFill>
                        <a:latin typeface="+mn-lt"/>
                      </a:endParaRPr>
                    </a:p>
                  </a:txBody>
                  <a:tcPr marL="72000" marR="72000" marT="72000" marB="72000"/>
                </a:tc>
                <a:extLst>
                  <a:ext uri="{0D108BD9-81ED-4DB2-BD59-A6C34878D82A}">
                    <a16:rowId xmlns:a16="http://schemas.microsoft.com/office/drawing/2014/main" val="852208788"/>
                  </a:ext>
                </a:extLst>
              </a:tr>
              <a:tr h="576813">
                <a:tc>
                  <a:txBody>
                    <a:bodyPr/>
                    <a:lstStyle/>
                    <a:p>
                      <a:pPr marL="0" algn="l" defTabSz="914400" rtl="0" eaLnBrk="1" fontAlgn="ctr" latinLnBrk="0" hangingPunct="1"/>
                      <a:r>
                        <a:rPr kumimoji="1" lang="en-IN" sz="1700" u="none" kern="1200">
                          <a:solidFill>
                            <a:schemeClr val="dk1"/>
                          </a:solidFill>
                          <a:hlinkClick r:id="rId6">
                            <a:extLst>
                              <a:ext uri="{A12FA001-AC4F-418D-AE19-62706E023703}">
                                <ahyp:hlinkClr xmlns:ahyp="http://schemas.microsoft.com/office/drawing/2018/hyperlinkcolor" val="tx"/>
                              </a:ext>
                            </a:extLst>
                          </a:hlinkClick>
                        </a:rPr>
                        <a:t>DL JP MCG MoneG Global Testing Team</a:t>
                      </a:r>
                      <a:endParaRPr kumimoji="1" lang="en-IN" sz="1700" u="none" kern="120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Ravi Adepu</a:t>
                      </a:r>
                      <a:endParaRPr lang="en-US" sz="1700" b="0">
                        <a:solidFill>
                          <a:schemeClr val="tx1"/>
                        </a:solidFill>
                        <a:latin typeface="+mn-lt"/>
                      </a:endParaRP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testing team</a:t>
                      </a:r>
                      <a:endParaRPr lang="en-US" sz="1700" b="0" dirty="0">
                        <a:solidFill>
                          <a:schemeClr val="tx1"/>
                        </a:solidFill>
                        <a:latin typeface="+mn-lt"/>
                      </a:endParaRPr>
                    </a:p>
                  </a:txBody>
                  <a:tcPr marL="72000" marR="72000" marT="72000" marB="72000"/>
                </a:tc>
                <a:extLst>
                  <a:ext uri="{0D108BD9-81ED-4DB2-BD59-A6C34878D82A}">
                    <a16:rowId xmlns:a16="http://schemas.microsoft.com/office/drawing/2014/main" val="3417938711"/>
                  </a:ext>
                </a:extLst>
              </a:tr>
              <a:tr h="576813">
                <a:tc>
                  <a:txBody>
                    <a:bodyPr/>
                    <a:lstStyle/>
                    <a:p>
                      <a:pPr marL="0" algn="l" defTabSz="914400" rtl="0" eaLnBrk="1" fontAlgn="ctr" latinLnBrk="0" hangingPunct="1"/>
                      <a:r>
                        <a:rPr kumimoji="1" lang="en-IN" sz="1700" u="none" kern="1200">
                          <a:solidFill>
                            <a:schemeClr val="dk1"/>
                          </a:solidFill>
                          <a:hlinkClick r:id="rId7">
                            <a:extLst>
                              <a:ext uri="{A12FA001-AC4F-418D-AE19-62706E023703}">
                                <ahyp:hlinkClr xmlns:ahyp="http://schemas.microsoft.com/office/drawing/2018/hyperlinkcolor" val="tx"/>
                              </a:ext>
                            </a:extLst>
                          </a:hlinkClick>
                        </a:rPr>
                        <a:t>DL JP MCG Mone Global Functional Lead Team</a:t>
                      </a:r>
                      <a:endParaRPr kumimoji="1" lang="en-IN" sz="1700" u="none" kern="120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Karim Ben Aissa</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functional leads</a:t>
                      </a:r>
                    </a:p>
                  </a:txBody>
                  <a:tcPr marL="72000" marR="72000" marT="72000" marB="72000"/>
                </a:tc>
                <a:extLst>
                  <a:ext uri="{0D108BD9-81ED-4DB2-BD59-A6C34878D82A}">
                    <a16:rowId xmlns:a16="http://schemas.microsoft.com/office/drawing/2014/main" val="1443921189"/>
                  </a:ext>
                </a:extLst>
              </a:tr>
              <a:tr h="419273">
                <a:tc>
                  <a:txBody>
                    <a:bodyPr/>
                    <a:lstStyle/>
                    <a:p>
                      <a:pPr marL="0" algn="l" defTabSz="914400" rtl="0" eaLnBrk="1" fontAlgn="ctr" latinLnBrk="0" hangingPunct="1"/>
                      <a:r>
                        <a:rPr kumimoji="1" lang="en-IN" sz="1700" u="none" kern="1200">
                          <a:solidFill>
                            <a:schemeClr val="dk1"/>
                          </a:solidFill>
                          <a:hlinkClick r:id="rId8">
                            <a:extLst>
                              <a:ext uri="{A12FA001-AC4F-418D-AE19-62706E023703}">
                                <ahyp:hlinkClr xmlns:ahyp="http://schemas.microsoft.com/office/drawing/2018/hyperlinkcolor" val="tx"/>
                              </a:ext>
                            </a:extLst>
                          </a:hlinkClick>
                        </a:rPr>
                        <a:t>DL JP MCG MoneG OCM Team</a:t>
                      </a:r>
                      <a:endParaRPr kumimoji="1" lang="en-IN" sz="1700" u="none" kern="120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Duan Kok</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OCM team</a:t>
                      </a:r>
                    </a:p>
                  </a:txBody>
                  <a:tcPr marL="72000" marR="72000" marT="72000" marB="72000"/>
                </a:tc>
                <a:extLst>
                  <a:ext uri="{0D108BD9-81ED-4DB2-BD59-A6C34878D82A}">
                    <a16:rowId xmlns:a16="http://schemas.microsoft.com/office/drawing/2014/main" val="3335528110"/>
                  </a:ext>
                </a:extLst>
              </a:tr>
              <a:tr h="943364">
                <a:tc>
                  <a:txBody>
                    <a:bodyPr/>
                    <a:lstStyle/>
                    <a:p>
                      <a:pPr marL="0" algn="l" defTabSz="914400" rtl="0" eaLnBrk="1" fontAlgn="ctr" latinLnBrk="0" hangingPunct="1"/>
                      <a:r>
                        <a:rPr kumimoji="1" lang="en-IN" sz="1700" u="none" kern="1200">
                          <a:solidFill>
                            <a:schemeClr val="dk1"/>
                          </a:solidFill>
                          <a:hlinkClick r:id="rId9">
                            <a:extLst>
                              <a:ext uri="{A12FA001-AC4F-418D-AE19-62706E023703}">
                                <ahyp:hlinkClr xmlns:ahyp="http://schemas.microsoft.com/office/drawing/2018/hyperlinkcolor" val="tx"/>
                              </a:ext>
                            </a:extLst>
                          </a:hlinkClick>
                        </a:rPr>
                        <a:t>DL JP MCG MoneG PMO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Soraya Franco</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PMO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be kept in loop regarding all submissions and project management tasks</a:t>
                      </a:r>
                    </a:p>
                  </a:txBody>
                  <a:tcPr marL="72000" marR="72000" marT="72000" marB="72000"/>
                </a:tc>
                <a:extLst>
                  <a:ext uri="{0D108BD9-81ED-4DB2-BD59-A6C34878D82A}">
                    <a16:rowId xmlns:a16="http://schemas.microsoft.com/office/drawing/2014/main" val="529422160"/>
                  </a:ext>
                </a:extLst>
              </a:tr>
              <a:tr h="576813">
                <a:tc>
                  <a:txBody>
                    <a:bodyPr/>
                    <a:lstStyle/>
                    <a:p>
                      <a:pPr marL="0" algn="l" defTabSz="914400" rtl="0" eaLnBrk="1" fontAlgn="ctr" latinLnBrk="0" hangingPunct="1"/>
                      <a:r>
                        <a:rPr kumimoji="1" lang="en-IN" sz="1700" u="none" kern="1200" dirty="0">
                          <a:solidFill>
                            <a:schemeClr val="dk1"/>
                          </a:solidFill>
                          <a:hlinkClick r:id="rId10">
                            <a:extLst>
                              <a:ext uri="{A12FA001-AC4F-418D-AE19-62706E023703}">
                                <ahyp:hlinkClr xmlns:ahyp="http://schemas.microsoft.com/office/drawing/2018/hyperlinkcolor" val="tx"/>
                              </a:ext>
                            </a:extLst>
                          </a:hlinkClick>
                        </a:rPr>
                        <a:t>DL JP MCG </a:t>
                      </a:r>
                      <a:r>
                        <a:rPr kumimoji="1" lang="en-IN" sz="1700" u="none" kern="1200" dirty="0" err="1">
                          <a:solidFill>
                            <a:schemeClr val="dk1"/>
                          </a:solidFill>
                          <a:hlinkClick r:id="rId10">
                            <a:extLst>
                              <a:ext uri="{A12FA001-AC4F-418D-AE19-62706E023703}">
                                <ahyp:hlinkClr xmlns:ahyp="http://schemas.microsoft.com/office/drawing/2018/hyperlinkcolor" val="tx"/>
                              </a:ext>
                            </a:extLst>
                          </a:hlinkClick>
                        </a:rPr>
                        <a:t>MoneG</a:t>
                      </a:r>
                      <a:r>
                        <a:rPr kumimoji="1" lang="en-IN" sz="1700" u="none" kern="1200" dirty="0">
                          <a:solidFill>
                            <a:schemeClr val="dk1"/>
                          </a:solidFill>
                          <a:hlinkClick r:id="rId10">
                            <a:extLst>
                              <a:ext uri="{A12FA001-AC4F-418D-AE19-62706E023703}">
                                <ahyp:hlinkClr xmlns:ahyp="http://schemas.microsoft.com/office/drawing/2018/hyperlinkcolor" val="tx"/>
                              </a:ext>
                            </a:extLst>
                          </a:hlinkClick>
                        </a:rPr>
                        <a:t> Technical Global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a:solidFill>
                            <a:schemeClr val="tx1"/>
                          </a:solidFill>
                        </a:rPr>
                        <a:t>Jasmine Wu</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To address the technical team</a:t>
                      </a:r>
                    </a:p>
                  </a:txBody>
                  <a:tcPr marL="72000" marR="72000" marT="72000" marB="72000"/>
                </a:tc>
                <a:extLst>
                  <a:ext uri="{0D108BD9-81ED-4DB2-BD59-A6C34878D82A}">
                    <a16:rowId xmlns:a16="http://schemas.microsoft.com/office/drawing/2014/main" val="1469729350"/>
                  </a:ext>
                </a:extLst>
              </a:tr>
            </a:tbl>
          </a:graphicData>
        </a:graphic>
      </p:graphicFrame>
    </p:spTree>
    <p:extLst>
      <p:ext uri="{BB962C8B-B14F-4D97-AF65-F5344CB8AC3E}">
        <p14:creationId xmlns:p14="http://schemas.microsoft.com/office/powerpoint/2010/main" val="19186809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chor="t">
            <a:normAutofit/>
          </a:bodyPr>
          <a:lstStyle/>
          <a:p>
            <a:r>
              <a:rPr lang="en-IN" dirty="0"/>
              <a:t>Active Distribution lists - Local</a:t>
            </a:r>
          </a:p>
        </p:txBody>
      </p:sp>
      <p:sp>
        <p:nvSpPr>
          <p:cNvPr id="5" name="スライド番号プレースホルダー 3">
            <a:extLst>
              <a:ext uri="{FF2B5EF4-FFF2-40B4-BE49-F238E27FC236}">
                <a16:creationId xmlns:a16="http://schemas.microsoft.com/office/drawing/2014/main" id="{291EDBAC-0DB4-8710-1136-3522D17D37E4}"/>
              </a:ext>
            </a:extLst>
          </p:cNvPr>
          <p:cNvSpPr>
            <a:spLocks noGrp="1"/>
          </p:cNvSpPr>
          <p:nvPr>
            <p:ph type="sldNum" sz="quarter" idx="4"/>
          </p:nvPr>
        </p:nvSpPr>
        <p:spPr/>
        <p:txBody>
          <a:bodyPr vert="horz" lIns="0" tIns="45720" rIns="91440" bIns="45720" rtlCol="0" anchor="t" anchorCtr="0">
            <a:normAutofit/>
          </a:bodyPr>
          <a:lstStyle>
            <a:lvl1pPr algn="l">
              <a:defRPr sz="1100">
                <a:solidFill>
                  <a:schemeClr val="tx1"/>
                </a:solidFill>
                <a:latin typeface="+mj-lt"/>
              </a:defRPr>
            </a:lvl1pPr>
          </a:lstStyle>
          <a:p>
            <a:pPr>
              <a:lnSpc>
                <a:spcPct val="90000"/>
              </a:lnSpc>
              <a:spcAft>
                <a:spcPts val="600"/>
              </a:spcAft>
            </a:pPr>
            <a:fld id="{48394356-8693-4048-8EAF-2BF05B04AA80}" type="slidenum">
              <a:rPr lang="ja-JP" altLang="en-US" sz="1000" smtClean="0"/>
              <a:pPr>
                <a:lnSpc>
                  <a:spcPct val="90000"/>
                </a:lnSpc>
                <a:spcAft>
                  <a:spcPts val="600"/>
                </a:spcAft>
              </a:pPr>
              <a:t>24</a:t>
            </a:fld>
            <a:endParaRPr lang="ja-JP" altLang="en-US" sz="1000"/>
          </a:p>
        </p:txBody>
      </p:sp>
      <p:sp>
        <p:nvSpPr>
          <p:cNvPr id="7" name="フッター プレースホルダー 2">
            <a:extLst>
              <a:ext uri="{FF2B5EF4-FFF2-40B4-BE49-F238E27FC236}">
                <a16:creationId xmlns:a16="http://schemas.microsoft.com/office/drawing/2014/main" id="{0307CD6A-C484-4123-D08E-672FA1B43B67}"/>
              </a:ext>
            </a:extLst>
          </p:cNvPr>
          <p:cNvSpPr>
            <a:spLocks noGrp="1"/>
          </p:cNvSpPr>
          <p:nvPr>
            <p:ph type="ftr" sz="quarter" idx="3"/>
          </p:nvPr>
        </p:nvSpPr>
        <p:spPr/>
        <p:txBody>
          <a:bodyPr>
            <a:normAutofit/>
          </a:bodyPr>
          <a:lstStyle>
            <a:lvl1pPr algn="l">
              <a:defRPr sz="1100">
                <a:solidFill>
                  <a:schemeClr val="tx1"/>
                </a:solidFill>
              </a:defRPr>
            </a:lvl1pPr>
          </a:lstStyle>
          <a:p>
            <a:pPr>
              <a:lnSpc>
                <a:spcPct val="90000"/>
              </a:lnSpc>
              <a:spcAft>
                <a:spcPts val="600"/>
              </a:spcAft>
            </a:pPr>
            <a:r>
              <a:rPr lang="en-US" altLang="ja-JP" sz="1000"/>
              <a:t>Mitsubishi Chemical Group</a:t>
            </a:r>
            <a:endParaRPr lang="ja-JP" altLang="en-US" sz="1000"/>
          </a:p>
        </p:txBody>
      </p:sp>
      <p:graphicFrame>
        <p:nvGraphicFramePr>
          <p:cNvPr id="6" name="Table 5">
            <a:extLst>
              <a:ext uri="{FF2B5EF4-FFF2-40B4-BE49-F238E27FC236}">
                <a16:creationId xmlns:a16="http://schemas.microsoft.com/office/drawing/2014/main" id="{51B6FDAD-65D0-46B9-04D0-FA138B0C2C60}"/>
              </a:ext>
            </a:extLst>
          </p:cNvPr>
          <p:cNvGraphicFramePr>
            <a:graphicFrameLocks noGrp="1"/>
          </p:cNvGraphicFramePr>
          <p:nvPr>
            <p:extLst>
              <p:ext uri="{D42A27DB-BD31-4B8C-83A1-F6EECF244321}">
                <p14:modId xmlns:p14="http://schemas.microsoft.com/office/powerpoint/2010/main" val="17590871"/>
              </p:ext>
            </p:extLst>
          </p:nvPr>
        </p:nvGraphicFramePr>
        <p:xfrm>
          <a:off x="435543" y="1130857"/>
          <a:ext cx="11320916" cy="2061120"/>
        </p:xfrm>
        <a:graphic>
          <a:graphicData uri="http://schemas.openxmlformats.org/drawingml/2006/table">
            <a:tbl>
              <a:tblPr firstRow="1" bandRow="1">
                <a:tableStyleId>{9DCAF9ED-07DC-4A11-8D7F-57B35C25682E}</a:tableStyleId>
              </a:tblPr>
              <a:tblGrid>
                <a:gridCol w="3884982">
                  <a:extLst>
                    <a:ext uri="{9D8B030D-6E8A-4147-A177-3AD203B41FA5}">
                      <a16:colId xmlns:a16="http://schemas.microsoft.com/office/drawing/2014/main" val="967730252"/>
                    </a:ext>
                  </a:extLst>
                </a:gridCol>
                <a:gridCol w="1981720">
                  <a:extLst>
                    <a:ext uri="{9D8B030D-6E8A-4147-A177-3AD203B41FA5}">
                      <a16:colId xmlns:a16="http://schemas.microsoft.com/office/drawing/2014/main" val="2622946096"/>
                    </a:ext>
                  </a:extLst>
                </a:gridCol>
                <a:gridCol w="5454214">
                  <a:extLst>
                    <a:ext uri="{9D8B030D-6E8A-4147-A177-3AD203B41FA5}">
                      <a16:colId xmlns:a16="http://schemas.microsoft.com/office/drawing/2014/main" val="1568800065"/>
                    </a:ext>
                  </a:extLst>
                </a:gridCol>
              </a:tblGrid>
              <a:tr h="0">
                <a:tc>
                  <a:txBody>
                    <a:bodyPr/>
                    <a:lstStyle/>
                    <a:p>
                      <a:r>
                        <a:rPr lang="en-US" sz="2000" dirty="0"/>
                        <a:t>DL Name</a:t>
                      </a:r>
                    </a:p>
                  </a:txBody>
                  <a:tcPr marL="72000" marR="72000" marT="72000" marB="72000"/>
                </a:tc>
                <a:tc>
                  <a:txBody>
                    <a:bodyPr/>
                    <a:lstStyle/>
                    <a:p>
                      <a:r>
                        <a:rPr lang="en-US" sz="2000"/>
                        <a:t>SPOC</a:t>
                      </a:r>
                    </a:p>
                  </a:txBody>
                  <a:tcPr marL="72000" marR="72000" marT="72000" marB="72000"/>
                </a:tc>
                <a:tc>
                  <a:txBody>
                    <a:bodyPr/>
                    <a:lstStyle/>
                    <a:p>
                      <a:r>
                        <a:rPr lang="en-US" sz="2000"/>
                        <a:t>Remark</a:t>
                      </a:r>
                    </a:p>
                  </a:txBody>
                  <a:tcPr marL="72000" marR="72000" marT="72000" marB="72000"/>
                </a:tc>
                <a:extLst>
                  <a:ext uri="{0D108BD9-81ED-4DB2-BD59-A6C34878D82A}">
                    <a16:rowId xmlns:a16="http://schemas.microsoft.com/office/drawing/2014/main" val="448349436"/>
                  </a:ext>
                </a:extLst>
              </a:tr>
              <a:tr h="0">
                <a:tc>
                  <a:txBody>
                    <a:bodyPr/>
                    <a:lstStyle/>
                    <a:p>
                      <a:pPr marL="0" algn="l" defTabSz="914400" rtl="0" eaLnBrk="1" fontAlgn="ctr" latinLnBrk="0" hangingPunct="1"/>
                      <a:r>
                        <a:rPr kumimoji="1" lang="en-IN" sz="1700" u="none" kern="1200" dirty="0">
                          <a:solidFill>
                            <a:schemeClr val="dk1"/>
                          </a:solidFill>
                          <a:hlinkClick r:id="rId3">
                            <a:extLst>
                              <a:ext uri="{A12FA001-AC4F-418D-AE19-62706E023703}">
                                <ahyp:hlinkClr xmlns:ahyp="http://schemas.microsoft.com/office/drawing/2018/hyperlinkcolor" val="tx"/>
                              </a:ext>
                            </a:extLst>
                          </a:hlinkClick>
                        </a:rPr>
                        <a:t>DL JP </a:t>
                      </a:r>
                      <a:r>
                        <a:rPr kumimoji="1" lang="en-IN" sz="1700" u="none" kern="1200" dirty="0" err="1">
                          <a:solidFill>
                            <a:schemeClr val="dk1"/>
                          </a:solidFill>
                          <a:hlinkClick r:id="rId3">
                            <a:extLst>
                              <a:ext uri="{A12FA001-AC4F-418D-AE19-62706E023703}">
                                <ahyp:hlinkClr xmlns:ahyp="http://schemas.microsoft.com/office/drawing/2018/hyperlinkcolor" val="tx"/>
                              </a:ext>
                            </a:extLst>
                          </a:hlinkClick>
                        </a:rPr>
                        <a:t>MoneG</a:t>
                      </a:r>
                      <a:r>
                        <a:rPr kumimoji="1" lang="en-IN" sz="1700" u="none" kern="1200" dirty="0">
                          <a:solidFill>
                            <a:schemeClr val="dk1"/>
                          </a:solidFill>
                          <a:hlinkClick r:id="rId3">
                            <a:extLst>
                              <a:ext uri="{A12FA001-AC4F-418D-AE19-62706E023703}">
                                <ahyp:hlinkClr xmlns:ahyp="http://schemas.microsoft.com/office/drawing/2018/hyperlinkcolor" val="tx"/>
                              </a:ext>
                            </a:extLst>
                          </a:hlinkClick>
                        </a:rPr>
                        <a:t> China Roll Out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Cheng Long</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rPr>
                        <a:t>For communication regarding roll outs in China</a:t>
                      </a:r>
                    </a:p>
                  </a:txBody>
                  <a:tcPr marL="72000" marR="72000" marT="72000" marB="72000"/>
                </a:tc>
                <a:extLst>
                  <a:ext uri="{0D108BD9-81ED-4DB2-BD59-A6C34878D82A}">
                    <a16:rowId xmlns:a16="http://schemas.microsoft.com/office/drawing/2014/main" val="1778568127"/>
                  </a:ext>
                </a:extLst>
              </a:tr>
              <a:tr h="0">
                <a:tc>
                  <a:txBody>
                    <a:bodyPr/>
                    <a:lstStyle/>
                    <a:p>
                      <a:pPr marL="0" algn="l" defTabSz="914400" rtl="0" eaLnBrk="1" fontAlgn="ctr" latinLnBrk="0" hangingPunct="1"/>
                      <a:r>
                        <a:rPr kumimoji="1" lang="en-IN" sz="1700" u="none"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DL JP </a:t>
                      </a:r>
                      <a:r>
                        <a:rPr kumimoji="1" lang="en-IN" sz="1700" u="none" kern="1200" dirty="0" err="1">
                          <a:solidFill>
                            <a:schemeClr val="dk1"/>
                          </a:solidFill>
                          <a:latin typeface="+mn-lt"/>
                          <a:ea typeface="+mn-ea"/>
                          <a:cs typeface="+mn-cs"/>
                          <a:hlinkClick r:id="rId4">
                            <a:extLst>
                              <a:ext uri="{A12FA001-AC4F-418D-AE19-62706E023703}">
                                <ahyp:hlinkClr xmlns:ahyp="http://schemas.microsoft.com/office/drawing/2018/hyperlinkcolor" val="tx"/>
                              </a:ext>
                            </a:extLst>
                          </a:hlinkClick>
                        </a:rPr>
                        <a:t>MoneG</a:t>
                      </a:r>
                      <a:r>
                        <a:rPr kumimoji="1" lang="en-IN" sz="1700" u="none"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 UK Roll Out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latin typeface="+mn-lt"/>
                        </a:rPr>
                        <a:t>Sunil Mistry</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700" b="0" i="0" u="none" strike="noStrike" kern="1200" cap="none" spc="0" normalizeH="0" baseline="0" noProof="0" dirty="0">
                          <a:ln>
                            <a:noFill/>
                          </a:ln>
                          <a:solidFill>
                            <a:prstClr val="black"/>
                          </a:solidFill>
                          <a:effectLst/>
                          <a:uLnTx/>
                          <a:uFillTx/>
                          <a:latin typeface="Arial" panose="020B0604020202020204"/>
                          <a:ea typeface="+mn-ea"/>
                          <a:cs typeface="+mn-cs"/>
                        </a:rPr>
                        <a:t>For communication regarding roll outs in UK</a:t>
                      </a:r>
                    </a:p>
                  </a:txBody>
                  <a:tcPr marL="72000" marR="72000" marT="72000" marB="72000"/>
                </a:tc>
                <a:extLst>
                  <a:ext uri="{0D108BD9-81ED-4DB2-BD59-A6C34878D82A}">
                    <a16:rowId xmlns:a16="http://schemas.microsoft.com/office/drawing/2014/main" val="852208788"/>
                  </a:ext>
                </a:extLst>
              </a:tr>
              <a:tr h="0">
                <a:tc>
                  <a:txBody>
                    <a:bodyPr/>
                    <a:lstStyle/>
                    <a:p>
                      <a:pPr marL="0" algn="l" defTabSz="914400" rtl="0" eaLnBrk="1" fontAlgn="ctr" latinLnBrk="0" hangingPunct="1"/>
                      <a:r>
                        <a:rPr kumimoji="1" lang="en-IN" sz="1700" u="none"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DL JP </a:t>
                      </a:r>
                      <a:r>
                        <a:rPr kumimoji="1" lang="en-IN" sz="1700" u="none" kern="1200" dirty="0" err="1">
                          <a:solidFill>
                            <a:schemeClr val="dk1"/>
                          </a:solidFill>
                          <a:latin typeface="+mn-lt"/>
                          <a:ea typeface="+mn-ea"/>
                          <a:cs typeface="+mn-cs"/>
                          <a:hlinkClick r:id="rId5">
                            <a:extLst>
                              <a:ext uri="{A12FA001-AC4F-418D-AE19-62706E023703}">
                                <ahyp:hlinkClr xmlns:ahyp="http://schemas.microsoft.com/office/drawing/2018/hyperlinkcolor" val="tx"/>
                              </a:ext>
                            </a:extLst>
                          </a:hlinkClick>
                        </a:rPr>
                        <a:t>MoneG</a:t>
                      </a:r>
                      <a:r>
                        <a:rPr kumimoji="1" lang="en-IN" sz="1700" u="none"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 US Roll Out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latin typeface="+mn-lt"/>
                        </a:rPr>
                        <a:t>Mandeep Oberoi</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700" b="0" i="0" u="none" strike="noStrike" kern="1200" cap="none" spc="0" normalizeH="0" baseline="0" noProof="0" dirty="0">
                          <a:ln>
                            <a:noFill/>
                          </a:ln>
                          <a:solidFill>
                            <a:prstClr val="black"/>
                          </a:solidFill>
                          <a:effectLst/>
                          <a:uLnTx/>
                          <a:uFillTx/>
                          <a:latin typeface="Arial" panose="020B0604020202020204"/>
                          <a:ea typeface="+mn-ea"/>
                          <a:cs typeface="+mn-cs"/>
                        </a:rPr>
                        <a:t>For communication regarding roll outs in US</a:t>
                      </a:r>
                    </a:p>
                  </a:txBody>
                  <a:tcPr marL="72000" marR="72000" marT="72000" marB="72000"/>
                </a:tc>
                <a:extLst>
                  <a:ext uri="{0D108BD9-81ED-4DB2-BD59-A6C34878D82A}">
                    <a16:rowId xmlns:a16="http://schemas.microsoft.com/office/drawing/2014/main" val="3417938711"/>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IN" sz="1700" u="none" kern="1200" dirty="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DL JP </a:t>
                      </a:r>
                      <a:r>
                        <a:rPr kumimoji="1" lang="en-IN" sz="1700" u="none" kern="1200" dirty="0" err="1">
                          <a:solidFill>
                            <a:schemeClr val="dk1"/>
                          </a:solidFill>
                          <a:latin typeface="+mn-lt"/>
                          <a:ea typeface="+mn-ea"/>
                          <a:cs typeface="+mn-cs"/>
                          <a:hlinkClick r:id="rId6">
                            <a:extLst>
                              <a:ext uri="{A12FA001-AC4F-418D-AE19-62706E023703}">
                                <ahyp:hlinkClr xmlns:ahyp="http://schemas.microsoft.com/office/drawing/2018/hyperlinkcolor" val="tx"/>
                              </a:ext>
                            </a:extLst>
                          </a:hlinkClick>
                        </a:rPr>
                        <a:t>MoneG</a:t>
                      </a:r>
                      <a:r>
                        <a:rPr kumimoji="1" lang="en-IN" sz="1700" u="none" kern="1200" dirty="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 Germany Roll Out Team</a:t>
                      </a:r>
                      <a:endParaRPr kumimoji="1" lang="en-IN" sz="1700" u="none" kern="1200" dirty="0">
                        <a:solidFill>
                          <a:schemeClr val="dk1"/>
                        </a:solidFill>
                        <a:latin typeface="+mn-lt"/>
                        <a:ea typeface="+mn-ea"/>
                        <a:cs typeface="+mn-cs"/>
                      </a:endParaRPr>
                    </a:p>
                  </a:txBody>
                  <a:tcPr marL="72000" marR="72000" marT="72000" marB="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Manfred Thebes</a:t>
                      </a:r>
                    </a:p>
                  </a:txBody>
                  <a:tcPr marL="72000" marR="72000" marT="72000" marB="720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700" b="0" i="0" u="none" strike="noStrike" kern="1200" cap="none" spc="0" normalizeH="0" baseline="0" noProof="0" dirty="0">
                          <a:ln>
                            <a:noFill/>
                          </a:ln>
                          <a:solidFill>
                            <a:prstClr val="black"/>
                          </a:solidFill>
                          <a:effectLst/>
                          <a:uLnTx/>
                          <a:uFillTx/>
                          <a:latin typeface="+mn-lt"/>
                          <a:ea typeface="+mn-ea"/>
                          <a:cs typeface="+mn-cs"/>
                        </a:rPr>
                        <a:t>For communication regarding roll outs in Germany</a:t>
                      </a:r>
                    </a:p>
                  </a:txBody>
                  <a:tcPr marL="72000" marR="72000" marT="72000" marB="72000"/>
                </a:tc>
                <a:extLst>
                  <a:ext uri="{0D108BD9-81ED-4DB2-BD59-A6C34878D82A}">
                    <a16:rowId xmlns:a16="http://schemas.microsoft.com/office/drawing/2014/main" val="1443921189"/>
                  </a:ext>
                </a:extLst>
              </a:tr>
            </a:tbl>
          </a:graphicData>
        </a:graphic>
      </p:graphicFrame>
    </p:spTree>
    <p:extLst>
      <p:ext uri="{BB962C8B-B14F-4D97-AF65-F5344CB8AC3E}">
        <p14:creationId xmlns:p14="http://schemas.microsoft.com/office/powerpoint/2010/main" val="11379057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Access (1/2)</a:t>
            </a:r>
          </a:p>
        </p:txBody>
      </p:sp>
      <p:sp>
        <p:nvSpPr>
          <p:cNvPr id="3" name="スライド番号プレースホルダー 3">
            <a:extLst>
              <a:ext uri="{FF2B5EF4-FFF2-40B4-BE49-F238E27FC236}">
                <a16:creationId xmlns:a16="http://schemas.microsoft.com/office/drawing/2014/main" id="{69B06B3F-B37E-9F5B-760C-1BDA8696376A}"/>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5</a:t>
            </a:fld>
            <a:endParaRPr lang="ja-JP" altLang="en-US" dirty="0"/>
          </a:p>
        </p:txBody>
      </p:sp>
      <p:sp>
        <p:nvSpPr>
          <p:cNvPr id="5" name="フッター プレースホルダー 2">
            <a:extLst>
              <a:ext uri="{FF2B5EF4-FFF2-40B4-BE49-F238E27FC236}">
                <a16:creationId xmlns:a16="http://schemas.microsoft.com/office/drawing/2014/main" id="{7A1A576E-3491-FA98-3B6E-FC46AD5A72FC}"/>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graphicFrame>
        <p:nvGraphicFramePr>
          <p:cNvPr id="12" name="Diagram 11">
            <a:extLst>
              <a:ext uri="{FF2B5EF4-FFF2-40B4-BE49-F238E27FC236}">
                <a16:creationId xmlns:a16="http://schemas.microsoft.com/office/drawing/2014/main" id="{5C1CA9E7-F0F5-6908-46B2-38F9B8F2358C}"/>
              </a:ext>
            </a:extLst>
          </p:cNvPr>
          <p:cNvGraphicFramePr/>
          <p:nvPr>
            <p:extLst>
              <p:ext uri="{D42A27DB-BD31-4B8C-83A1-F6EECF244321}">
                <p14:modId xmlns:p14="http://schemas.microsoft.com/office/powerpoint/2010/main" val="3422285208"/>
              </p:ext>
            </p:extLst>
          </p:nvPr>
        </p:nvGraphicFramePr>
        <p:xfrm>
          <a:off x="1244600" y="1066800"/>
          <a:ext cx="97028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99435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Access (2/2)</a:t>
            </a:r>
          </a:p>
        </p:txBody>
      </p:sp>
      <p:sp>
        <p:nvSpPr>
          <p:cNvPr id="3" name="スライド番号プレースホルダー 3">
            <a:extLst>
              <a:ext uri="{FF2B5EF4-FFF2-40B4-BE49-F238E27FC236}">
                <a16:creationId xmlns:a16="http://schemas.microsoft.com/office/drawing/2014/main" id="{69B06B3F-B37E-9F5B-760C-1BDA8696376A}"/>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6</a:t>
            </a:fld>
            <a:endParaRPr lang="ja-JP" altLang="en-US" dirty="0"/>
          </a:p>
        </p:txBody>
      </p:sp>
      <p:sp>
        <p:nvSpPr>
          <p:cNvPr id="5" name="フッター プレースホルダー 2">
            <a:extLst>
              <a:ext uri="{FF2B5EF4-FFF2-40B4-BE49-F238E27FC236}">
                <a16:creationId xmlns:a16="http://schemas.microsoft.com/office/drawing/2014/main" id="{7A1A576E-3491-FA98-3B6E-FC46AD5A72FC}"/>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graphicFrame>
        <p:nvGraphicFramePr>
          <p:cNvPr id="12" name="Diagram 11">
            <a:extLst>
              <a:ext uri="{FF2B5EF4-FFF2-40B4-BE49-F238E27FC236}">
                <a16:creationId xmlns:a16="http://schemas.microsoft.com/office/drawing/2014/main" id="{5C1CA9E7-F0F5-6908-46B2-38F9B8F2358C}"/>
              </a:ext>
            </a:extLst>
          </p:cNvPr>
          <p:cNvGraphicFramePr/>
          <p:nvPr>
            <p:extLst>
              <p:ext uri="{D42A27DB-BD31-4B8C-83A1-F6EECF244321}">
                <p14:modId xmlns:p14="http://schemas.microsoft.com/office/powerpoint/2010/main" val="1865610180"/>
              </p:ext>
            </p:extLst>
          </p:nvPr>
        </p:nvGraphicFramePr>
        <p:xfrm>
          <a:off x="1244600" y="1066800"/>
          <a:ext cx="9702800" cy="5071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5838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190DDFF-7D87-45BF-86F5-2E399A029778}"/>
              </a:ext>
            </a:extLst>
          </p:cNvPr>
          <p:cNvSpPr/>
          <p:nvPr/>
        </p:nvSpPr>
        <p:spPr>
          <a:xfrm>
            <a:off x="9738061" y="4866434"/>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85540C0-03AD-5046-EE66-F0BCF570DDB5}"/>
              </a:ext>
            </a:extLst>
          </p:cNvPr>
          <p:cNvSpPr/>
          <p:nvPr/>
        </p:nvSpPr>
        <p:spPr>
          <a:xfrm>
            <a:off x="6537661" y="4877277"/>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5A3BD23-E1B9-7081-545C-2CADA993EB48}"/>
              </a:ext>
            </a:extLst>
          </p:cNvPr>
          <p:cNvSpPr/>
          <p:nvPr/>
        </p:nvSpPr>
        <p:spPr>
          <a:xfrm>
            <a:off x="3368336" y="4877277"/>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9B8CF4C-2BBD-2EF0-09E4-0C781303F923}"/>
              </a:ext>
            </a:extLst>
          </p:cNvPr>
          <p:cNvSpPr/>
          <p:nvPr/>
        </p:nvSpPr>
        <p:spPr>
          <a:xfrm>
            <a:off x="185738" y="4867752"/>
            <a:ext cx="2290763"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1B537C6-1910-8C38-C651-70DBA8DD6DC0}"/>
              </a:ext>
            </a:extLst>
          </p:cNvPr>
          <p:cNvSpPr/>
          <p:nvPr/>
        </p:nvSpPr>
        <p:spPr>
          <a:xfrm>
            <a:off x="9720261" y="2147892"/>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9C2BD3F2-489C-9193-F461-628C6D27D64D}"/>
              </a:ext>
            </a:extLst>
          </p:cNvPr>
          <p:cNvSpPr/>
          <p:nvPr/>
        </p:nvSpPr>
        <p:spPr>
          <a:xfrm>
            <a:off x="6553201" y="2147892"/>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6526ADE-8BF4-8EB6-993D-6394CC9067AA}"/>
              </a:ext>
            </a:extLst>
          </p:cNvPr>
          <p:cNvSpPr/>
          <p:nvPr/>
        </p:nvSpPr>
        <p:spPr>
          <a:xfrm>
            <a:off x="3352800" y="2147892"/>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FC677C8-C0D3-2A06-7615-CFF50FAB13BA}"/>
              </a:ext>
            </a:extLst>
          </p:cNvPr>
          <p:cNvSpPr/>
          <p:nvPr/>
        </p:nvSpPr>
        <p:spPr>
          <a:xfrm>
            <a:off x="190500" y="2147892"/>
            <a:ext cx="2286001" cy="121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IN" dirty="0"/>
              <a:t>Initial set up for SAP APPSTREAM</a:t>
            </a:r>
          </a:p>
        </p:txBody>
      </p:sp>
      <p:sp>
        <p:nvSpPr>
          <p:cNvPr id="4" name="スライド番号プレースホルダー 3">
            <a:extLst>
              <a:ext uri="{FF2B5EF4-FFF2-40B4-BE49-F238E27FC236}">
                <a16:creationId xmlns:a16="http://schemas.microsoft.com/office/drawing/2014/main" id="{FA56128A-6593-8B73-06C5-0A23D354681C}"/>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7</a:t>
            </a:fld>
            <a:endParaRPr lang="ja-JP" altLang="en-US" dirty="0"/>
          </a:p>
        </p:txBody>
      </p:sp>
      <p:sp>
        <p:nvSpPr>
          <p:cNvPr id="8" name="フッター プレースホルダー 2">
            <a:extLst>
              <a:ext uri="{FF2B5EF4-FFF2-40B4-BE49-F238E27FC236}">
                <a16:creationId xmlns:a16="http://schemas.microsoft.com/office/drawing/2014/main" id="{8C5DBF0B-D85E-65E0-2A76-DE1E81B374EC}"/>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pic>
        <p:nvPicPr>
          <p:cNvPr id="5" name="Picture 4">
            <a:extLst>
              <a:ext uri="{FF2B5EF4-FFF2-40B4-BE49-F238E27FC236}">
                <a16:creationId xmlns:a16="http://schemas.microsoft.com/office/drawing/2014/main" id="{915EB2F9-7248-BD00-CF41-1F6F82FA74A6}"/>
              </a:ext>
            </a:extLst>
          </p:cNvPr>
          <p:cNvPicPr>
            <a:picLocks noChangeAspect="1"/>
          </p:cNvPicPr>
          <p:nvPr/>
        </p:nvPicPr>
        <p:blipFill>
          <a:blip r:embed="rId3"/>
          <a:stretch>
            <a:fillRect/>
          </a:stretch>
        </p:blipFill>
        <p:spPr>
          <a:xfrm>
            <a:off x="190499" y="2544769"/>
            <a:ext cx="2324101" cy="593723"/>
          </a:xfrm>
          <a:prstGeom prst="rect">
            <a:avLst/>
          </a:prstGeom>
        </p:spPr>
      </p:pic>
      <p:graphicFrame>
        <p:nvGraphicFramePr>
          <p:cNvPr id="6" name="Diagram 5">
            <a:extLst>
              <a:ext uri="{FF2B5EF4-FFF2-40B4-BE49-F238E27FC236}">
                <a16:creationId xmlns:a16="http://schemas.microsoft.com/office/drawing/2014/main" id="{9A4D871B-BAE5-B5F0-63A0-AF5B0CEE075D}"/>
              </a:ext>
            </a:extLst>
          </p:cNvPr>
          <p:cNvGraphicFramePr/>
          <p:nvPr/>
        </p:nvGraphicFramePr>
        <p:xfrm>
          <a:off x="190500" y="955643"/>
          <a:ext cx="11811000" cy="152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BDCF364D-1AB2-C84E-5A26-F2DAA5F9CA73}"/>
              </a:ext>
            </a:extLst>
          </p:cNvPr>
          <p:cNvGraphicFramePr/>
          <p:nvPr/>
        </p:nvGraphicFramePr>
        <p:xfrm>
          <a:off x="190500" y="3656062"/>
          <a:ext cx="11811000" cy="155095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2" name="Picture 11">
            <a:extLst>
              <a:ext uri="{FF2B5EF4-FFF2-40B4-BE49-F238E27FC236}">
                <a16:creationId xmlns:a16="http://schemas.microsoft.com/office/drawing/2014/main" id="{E8409044-83F8-5A11-F31A-95CD0EECAEB6}"/>
              </a:ext>
            </a:extLst>
          </p:cNvPr>
          <p:cNvPicPr>
            <a:picLocks noChangeAspect="1"/>
          </p:cNvPicPr>
          <p:nvPr/>
        </p:nvPicPr>
        <p:blipFill rotWithShape="1">
          <a:blip r:embed="rId14"/>
          <a:srcRect l="23014" t="5722" r="25790" b="19977"/>
          <a:stretch/>
        </p:blipFill>
        <p:spPr>
          <a:xfrm>
            <a:off x="3612475" y="2463944"/>
            <a:ext cx="1797725" cy="884098"/>
          </a:xfrm>
          <a:prstGeom prst="rect">
            <a:avLst/>
          </a:prstGeom>
        </p:spPr>
      </p:pic>
      <p:pic>
        <p:nvPicPr>
          <p:cNvPr id="13" name="Picture 12">
            <a:extLst>
              <a:ext uri="{FF2B5EF4-FFF2-40B4-BE49-F238E27FC236}">
                <a16:creationId xmlns:a16="http://schemas.microsoft.com/office/drawing/2014/main" id="{A3270DC4-ED06-8F00-CECC-0E5E41B9B74C}"/>
              </a:ext>
            </a:extLst>
          </p:cNvPr>
          <p:cNvPicPr>
            <a:picLocks noChangeAspect="1"/>
          </p:cNvPicPr>
          <p:nvPr/>
        </p:nvPicPr>
        <p:blipFill rotWithShape="1">
          <a:blip r:embed="rId15"/>
          <a:srcRect l="32350" t="10789" r="34317" b="28516"/>
          <a:stretch/>
        </p:blipFill>
        <p:spPr>
          <a:xfrm>
            <a:off x="6781800" y="2456256"/>
            <a:ext cx="1797725" cy="891786"/>
          </a:xfrm>
          <a:prstGeom prst="rect">
            <a:avLst/>
          </a:prstGeom>
        </p:spPr>
      </p:pic>
      <p:pic>
        <p:nvPicPr>
          <p:cNvPr id="14" name="Picture 13">
            <a:extLst>
              <a:ext uri="{FF2B5EF4-FFF2-40B4-BE49-F238E27FC236}">
                <a16:creationId xmlns:a16="http://schemas.microsoft.com/office/drawing/2014/main" id="{4C66A260-04B6-280C-7DD3-302868CD4716}"/>
              </a:ext>
            </a:extLst>
          </p:cNvPr>
          <p:cNvPicPr>
            <a:picLocks noChangeAspect="1"/>
          </p:cNvPicPr>
          <p:nvPr/>
        </p:nvPicPr>
        <p:blipFill rotWithShape="1">
          <a:blip r:embed="rId16"/>
          <a:srcRect l="21885" t="8327" r="25631" b="5947"/>
          <a:stretch/>
        </p:blipFill>
        <p:spPr>
          <a:xfrm>
            <a:off x="9982200" y="2469597"/>
            <a:ext cx="1797725" cy="821295"/>
          </a:xfrm>
          <a:prstGeom prst="rect">
            <a:avLst/>
          </a:prstGeom>
        </p:spPr>
      </p:pic>
      <p:pic>
        <p:nvPicPr>
          <p:cNvPr id="27" name="Picture 26">
            <a:extLst>
              <a:ext uri="{FF2B5EF4-FFF2-40B4-BE49-F238E27FC236}">
                <a16:creationId xmlns:a16="http://schemas.microsoft.com/office/drawing/2014/main" id="{3C31FA01-CA5D-52FA-CC1E-08069D6CA6DE}"/>
              </a:ext>
            </a:extLst>
          </p:cNvPr>
          <p:cNvPicPr>
            <a:picLocks noChangeAspect="1"/>
          </p:cNvPicPr>
          <p:nvPr/>
        </p:nvPicPr>
        <p:blipFill rotWithShape="1">
          <a:blip r:embed="rId17"/>
          <a:srcRect l="33333" t="13415" r="36420" b="14135"/>
          <a:stretch/>
        </p:blipFill>
        <p:spPr>
          <a:xfrm>
            <a:off x="533400" y="5132976"/>
            <a:ext cx="1607225" cy="909387"/>
          </a:xfrm>
          <a:prstGeom prst="rect">
            <a:avLst/>
          </a:prstGeom>
        </p:spPr>
      </p:pic>
      <p:pic>
        <p:nvPicPr>
          <p:cNvPr id="28" name="Picture 27">
            <a:extLst>
              <a:ext uri="{FF2B5EF4-FFF2-40B4-BE49-F238E27FC236}">
                <a16:creationId xmlns:a16="http://schemas.microsoft.com/office/drawing/2014/main" id="{EAC7CD6D-9822-AAFA-3A85-6541B38D3DF1}"/>
              </a:ext>
            </a:extLst>
          </p:cNvPr>
          <p:cNvPicPr>
            <a:picLocks noChangeAspect="1"/>
          </p:cNvPicPr>
          <p:nvPr/>
        </p:nvPicPr>
        <p:blipFill rotWithShape="1">
          <a:blip r:embed="rId18"/>
          <a:srcRect r="50000"/>
          <a:stretch/>
        </p:blipFill>
        <p:spPr>
          <a:xfrm>
            <a:off x="3886200" y="5214989"/>
            <a:ext cx="1178962" cy="794036"/>
          </a:xfrm>
          <a:prstGeom prst="rect">
            <a:avLst/>
          </a:prstGeom>
        </p:spPr>
      </p:pic>
      <p:pic>
        <p:nvPicPr>
          <p:cNvPr id="29" name="Picture 28">
            <a:extLst>
              <a:ext uri="{FF2B5EF4-FFF2-40B4-BE49-F238E27FC236}">
                <a16:creationId xmlns:a16="http://schemas.microsoft.com/office/drawing/2014/main" id="{AD70563E-1C81-F064-BA7A-7CEA223BFE6C}"/>
              </a:ext>
            </a:extLst>
          </p:cNvPr>
          <p:cNvPicPr>
            <a:picLocks noChangeAspect="1"/>
          </p:cNvPicPr>
          <p:nvPr/>
        </p:nvPicPr>
        <p:blipFill rotWithShape="1">
          <a:blip r:embed="rId19"/>
          <a:srcRect l="19531" r="13783" b="10351"/>
          <a:stretch/>
        </p:blipFill>
        <p:spPr>
          <a:xfrm>
            <a:off x="6922064" y="5164439"/>
            <a:ext cx="1572532" cy="877924"/>
          </a:xfrm>
          <a:prstGeom prst="rect">
            <a:avLst/>
          </a:prstGeom>
        </p:spPr>
      </p:pic>
      <p:pic>
        <p:nvPicPr>
          <p:cNvPr id="30" name="Picture 29">
            <a:extLst>
              <a:ext uri="{FF2B5EF4-FFF2-40B4-BE49-F238E27FC236}">
                <a16:creationId xmlns:a16="http://schemas.microsoft.com/office/drawing/2014/main" id="{EB7DED30-B765-B0C4-8EF5-53C4DCDE76AE}"/>
              </a:ext>
            </a:extLst>
          </p:cNvPr>
          <p:cNvPicPr>
            <a:picLocks noChangeAspect="1"/>
          </p:cNvPicPr>
          <p:nvPr/>
        </p:nvPicPr>
        <p:blipFill>
          <a:blip r:embed="rId20"/>
          <a:stretch>
            <a:fillRect/>
          </a:stretch>
        </p:blipFill>
        <p:spPr>
          <a:xfrm>
            <a:off x="9906285" y="5156176"/>
            <a:ext cx="1949552" cy="877924"/>
          </a:xfrm>
          <a:prstGeom prst="rect">
            <a:avLst/>
          </a:prstGeom>
        </p:spPr>
      </p:pic>
    </p:spTree>
    <p:extLst>
      <p:ext uri="{BB962C8B-B14F-4D97-AF65-F5344CB8AC3E}">
        <p14:creationId xmlns:p14="http://schemas.microsoft.com/office/powerpoint/2010/main" val="1589234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F5308D8-3FEB-E2F5-F640-5A2D73ADF532}"/>
              </a:ext>
            </a:extLst>
          </p:cNvPr>
          <p:cNvSpPr/>
          <p:nvPr/>
        </p:nvSpPr>
        <p:spPr>
          <a:xfrm>
            <a:off x="231052" y="4475822"/>
            <a:ext cx="3755930" cy="2011680"/>
          </a:xfrm>
          <a:prstGeom prst="rect">
            <a:avLst/>
          </a:prstGeom>
          <a:solidFill>
            <a:schemeClr val="bg2"/>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 name="Rectangle 12">
            <a:extLst>
              <a:ext uri="{FF2B5EF4-FFF2-40B4-BE49-F238E27FC236}">
                <a16:creationId xmlns:a16="http://schemas.microsoft.com/office/drawing/2014/main" id="{61D9D621-625E-E4F4-C9FC-0A44488EA263}"/>
              </a:ext>
            </a:extLst>
          </p:cNvPr>
          <p:cNvSpPr/>
          <p:nvPr/>
        </p:nvSpPr>
        <p:spPr>
          <a:xfrm>
            <a:off x="8205016" y="4475822"/>
            <a:ext cx="3755930" cy="2011680"/>
          </a:xfrm>
          <a:prstGeom prst="rect">
            <a:avLst/>
          </a:prstGeom>
          <a:solidFill>
            <a:schemeClr val="bg2"/>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 name="Rectangle 13">
            <a:extLst>
              <a:ext uri="{FF2B5EF4-FFF2-40B4-BE49-F238E27FC236}">
                <a16:creationId xmlns:a16="http://schemas.microsoft.com/office/drawing/2014/main" id="{78B1E64C-73DC-E53F-A5F4-8814F3BCAE36}"/>
              </a:ext>
            </a:extLst>
          </p:cNvPr>
          <p:cNvSpPr/>
          <p:nvPr/>
        </p:nvSpPr>
        <p:spPr>
          <a:xfrm>
            <a:off x="4218033" y="4475822"/>
            <a:ext cx="3755930" cy="2011680"/>
          </a:xfrm>
          <a:prstGeom prst="rect">
            <a:avLst/>
          </a:prstGeom>
          <a:solidFill>
            <a:schemeClr val="bg1">
              <a:lumMod val="75000"/>
            </a:schemeClr>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 name="Rectangle 10">
            <a:extLst>
              <a:ext uri="{FF2B5EF4-FFF2-40B4-BE49-F238E27FC236}">
                <a16:creationId xmlns:a16="http://schemas.microsoft.com/office/drawing/2014/main" id="{BB7984F7-CC25-3A65-0BD8-1097F946D5CB}"/>
              </a:ext>
            </a:extLst>
          </p:cNvPr>
          <p:cNvSpPr/>
          <p:nvPr/>
        </p:nvSpPr>
        <p:spPr>
          <a:xfrm>
            <a:off x="8205017" y="2656006"/>
            <a:ext cx="3755930" cy="1703154"/>
          </a:xfrm>
          <a:prstGeom prst="rect">
            <a:avLst/>
          </a:prstGeom>
          <a:solidFill>
            <a:schemeClr val="bg1">
              <a:lumMod val="75000"/>
            </a:schemeClr>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 name="Rectangle 9">
            <a:extLst>
              <a:ext uri="{FF2B5EF4-FFF2-40B4-BE49-F238E27FC236}">
                <a16:creationId xmlns:a16="http://schemas.microsoft.com/office/drawing/2014/main" id="{4043758A-5C11-CADD-AF2F-F85B0412DD5F}"/>
              </a:ext>
            </a:extLst>
          </p:cNvPr>
          <p:cNvSpPr/>
          <p:nvPr/>
        </p:nvSpPr>
        <p:spPr>
          <a:xfrm>
            <a:off x="4218035" y="2670853"/>
            <a:ext cx="3755930" cy="1700784"/>
          </a:xfrm>
          <a:prstGeom prst="rect">
            <a:avLst/>
          </a:prstGeom>
          <a:solidFill>
            <a:schemeClr val="bg2"/>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 name="Title 1">
            <a:extLst>
              <a:ext uri="{FF2B5EF4-FFF2-40B4-BE49-F238E27FC236}">
                <a16:creationId xmlns:a16="http://schemas.microsoft.com/office/drawing/2014/main" id="{516D1F41-1696-86BF-8441-201397A1E6E4}"/>
              </a:ext>
            </a:extLst>
          </p:cNvPr>
          <p:cNvSpPr>
            <a:spLocks noGrp="1"/>
          </p:cNvSpPr>
          <p:nvPr>
            <p:ph type="title"/>
          </p:nvPr>
        </p:nvSpPr>
        <p:spPr/>
        <p:txBody>
          <a:bodyPr/>
          <a:lstStyle/>
          <a:p>
            <a:r>
              <a:rPr lang="en-US" dirty="0"/>
              <a:t>Steps to download file from </a:t>
            </a:r>
            <a:r>
              <a:rPr lang="en-US" dirty="0" err="1"/>
              <a:t>AppStream</a:t>
            </a:r>
            <a:r>
              <a:rPr lang="en-US" dirty="0"/>
              <a:t> into local drive</a:t>
            </a:r>
          </a:p>
        </p:txBody>
      </p:sp>
      <p:sp>
        <p:nvSpPr>
          <p:cNvPr id="4" name="スライド番号プレースホルダー 3">
            <a:extLst>
              <a:ext uri="{FF2B5EF4-FFF2-40B4-BE49-F238E27FC236}">
                <a16:creationId xmlns:a16="http://schemas.microsoft.com/office/drawing/2014/main" id="{C1B531EE-61BF-04F8-78B2-3E917D7E8645}"/>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8</a:t>
            </a:fld>
            <a:endParaRPr lang="ja-JP" altLang="en-US" dirty="0"/>
          </a:p>
        </p:txBody>
      </p:sp>
      <p:sp>
        <p:nvSpPr>
          <p:cNvPr id="15" name="Text Placeholder 14">
            <a:extLst>
              <a:ext uri="{FF2B5EF4-FFF2-40B4-BE49-F238E27FC236}">
                <a16:creationId xmlns:a16="http://schemas.microsoft.com/office/drawing/2014/main" id="{1AFF0A32-095F-B3B3-280E-9A144A8DD94C}"/>
              </a:ext>
            </a:extLst>
          </p:cNvPr>
          <p:cNvSpPr>
            <a:spLocks noGrp="1"/>
          </p:cNvSpPr>
          <p:nvPr>
            <p:ph type="body" sz="quarter" idx="11"/>
          </p:nvPr>
        </p:nvSpPr>
        <p:spPr/>
        <p:txBody>
          <a:bodyPr/>
          <a:lstStyle/>
          <a:p>
            <a:endParaRPr lang="en-IN"/>
          </a:p>
        </p:txBody>
      </p:sp>
      <p:sp>
        <p:nvSpPr>
          <p:cNvPr id="5" name="フッター プレースホルダー 2">
            <a:extLst>
              <a:ext uri="{FF2B5EF4-FFF2-40B4-BE49-F238E27FC236}">
                <a16:creationId xmlns:a16="http://schemas.microsoft.com/office/drawing/2014/main" id="{98CB1921-E80E-B3BE-AB8C-89BA109C4F26}"/>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pic>
        <p:nvPicPr>
          <p:cNvPr id="1026" name="x_Picture 21">
            <a:extLst>
              <a:ext uri="{FF2B5EF4-FFF2-40B4-BE49-F238E27FC236}">
                <a16:creationId xmlns:a16="http://schemas.microsoft.com/office/drawing/2014/main" id="{8110F7D2-CE61-B484-43F0-D24B72CBCF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1947" y="4935981"/>
            <a:ext cx="3681453" cy="151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x_Picture 18">
            <a:extLst>
              <a:ext uri="{FF2B5EF4-FFF2-40B4-BE49-F238E27FC236}">
                <a16:creationId xmlns:a16="http://schemas.microsoft.com/office/drawing/2014/main" id="{E8D6F3C3-D5A8-11F8-1102-4578007D47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237"/>
          <a:stretch/>
        </p:blipFill>
        <p:spPr bwMode="auto">
          <a:xfrm>
            <a:off x="4885716" y="4908567"/>
            <a:ext cx="1998822" cy="66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x_Picture 17">
            <a:extLst>
              <a:ext uri="{FF2B5EF4-FFF2-40B4-BE49-F238E27FC236}">
                <a16:creationId xmlns:a16="http://schemas.microsoft.com/office/drawing/2014/main" id="{4269F1A7-3AC8-5DAA-7CE3-80CF8F411B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9989"/>
          <a:stretch/>
        </p:blipFill>
        <p:spPr bwMode="auto">
          <a:xfrm>
            <a:off x="4331853" y="5601411"/>
            <a:ext cx="3516266" cy="88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x_Picture 16">
            <a:extLst>
              <a:ext uri="{FF2B5EF4-FFF2-40B4-BE49-F238E27FC236}">
                <a16:creationId xmlns:a16="http://schemas.microsoft.com/office/drawing/2014/main" id="{996162F7-759C-548E-57D9-570C5DF7EE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2953"/>
          <a:stretch/>
        </p:blipFill>
        <p:spPr bwMode="auto">
          <a:xfrm>
            <a:off x="222197" y="5192102"/>
            <a:ext cx="3746595" cy="11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x_Picture 14">
            <a:extLst>
              <a:ext uri="{FF2B5EF4-FFF2-40B4-BE49-F238E27FC236}">
                <a16:creationId xmlns:a16="http://schemas.microsoft.com/office/drawing/2014/main" id="{EC71FC13-F155-06A8-E91D-EA820216CE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56673" y="3042714"/>
            <a:ext cx="2658808" cy="114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x_Picture 13">
            <a:extLst>
              <a:ext uri="{FF2B5EF4-FFF2-40B4-BE49-F238E27FC236}">
                <a16:creationId xmlns:a16="http://schemas.microsoft.com/office/drawing/2014/main" id="{D42C943C-E929-EC8A-9B87-36A83FBF2A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33585" y="3182090"/>
            <a:ext cx="3740595" cy="853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D6E896FE-5D20-754F-022D-1DAE1200A65E}"/>
              </a:ext>
            </a:extLst>
          </p:cNvPr>
          <p:cNvSpPr/>
          <p:nvPr/>
        </p:nvSpPr>
        <p:spPr>
          <a:xfrm>
            <a:off x="231053" y="835087"/>
            <a:ext cx="3755930" cy="1700784"/>
          </a:xfrm>
          <a:prstGeom prst="rect">
            <a:avLst/>
          </a:prstGeom>
          <a:solidFill>
            <a:schemeClr val="bg2"/>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3E93EB60-9F9C-1CD7-E887-2AA8B80DB7E9}"/>
              </a:ext>
            </a:extLst>
          </p:cNvPr>
          <p:cNvSpPr/>
          <p:nvPr/>
        </p:nvSpPr>
        <p:spPr>
          <a:xfrm>
            <a:off x="8205018" y="840661"/>
            <a:ext cx="3755930" cy="1700784"/>
          </a:xfrm>
          <a:prstGeom prst="rect">
            <a:avLst/>
          </a:prstGeom>
          <a:solidFill>
            <a:schemeClr val="bg2"/>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 name="Rectangle 7">
            <a:extLst>
              <a:ext uri="{FF2B5EF4-FFF2-40B4-BE49-F238E27FC236}">
                <a16:creationId xmlns:a16="http://schemas.microsoft.com/office/drawing/2014/main" id="{0CD5F5AD-335D-23D2-6F5F-030248FD7ADA}"/>
              </a:ext>
            </a:extLst>
          </p:cNvPr>
          <p:cNvSpPr/>
          <p:nvPr/>
        </p:nvSpPr>
        <p:spPr>
          <a:xfrm>
            <a:off x="4218035" y="835086"/>
            <a:ext cx="3755930" cy="1700784"/>
          </a:xfrm>
          <a:prstGeom prst="rect">
            <a:avLst/>
          </a:prstGeom>
          <a:solidFill>
            <a:schemeClr val="bg1">
              <a:lumMod val="75000"/>
            </a:schemeClr>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 name="Rectangle 8">
            <a:extLst>
              <a:ext uri="{FF2B5EF4-FFF2-40B4-BE49-F238E27FC236}">
                <a16:creationId xmlns:a16="http://schemas.microsoft.com/office/drawing/2014/main" id="{20189974-78B1-4C5F-1E3B-4A8B280B2570}"/>
              </a:ext>
            </a:extLst>
          </p:cNvPr>
          <p:cNvSpPr/>
          <p:nvPr/>
        </p:nvSpPr>
        <p:spPr>
          <a:xfrm>
            <a:off x="231052" y="2670853"/>
            <a:ext cx="3755930" cy="1700784"/>
          </a:xfrm>
          <a:prstGeom prst="rect">
            <a:avLst/>
          </a:prstGeom>
          <a:solidFill>
            <a:schemeClr val="bg1">
              <a:lumMod val="75000"/>
            </a:schemeClr>
          </a:solidFill>
          <a:ln>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pic>
        <p:nvPicPr>
          <p:cNvPr id="2050" name="x_Picture 11">
            <a:extLst>
              <a:ext uri="{FF2B5EF4-FFF2-40B4-BE49-F238E27FC236}">
                <a16:creationId xmlns:a16="http://schemas.microsoft.com/office/drawing/2014/main" id="{B8AAC23B-19BD-C8E5-E635-F0B2F44B67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675" y="3231408"/>
            <a:ext cx="3740595" cy="918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x_Picture 10">
            <a:extLst>
              <a:ext uri="{FF2B5EF4-FFF2-40B4-BE49-F238E27FC236}">
                <a16:creationId xmlns:a16="http://schemas.microsoft.com/office/drawing/2014/main" id="{45529286-F315-31A6-6D49-4A6432341A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70803" y="1392755"/>
            <a:ext cx="3616397" cy="854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x__x0000_i1042">
            <a:extLst>
              <a:ext uri="{FF2B5EF4-FFF2-40B4-BE49-F238E27FC236}">
                <a16:creationId xmlns:a16="http://schemas.microsoft.com/office/drawing/2014/main" id="{8A5C888C-DA24-FD10-CB03-121B947F21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1881" y="1212592"/>
            <a:ext cx="2974275" cy="1110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x_Picture 9">
            <a:extLst>
              <a:ext uri="{FF2B5EF4-FFF2-40B4-BE49-F238E27FC236}">
                <a16:creationId xmlns:a16="http://schemas.microsoft.com/office/drawing/2014/main" id="{F2F99892-AA26-45FB-5355-0080ACB9930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85716" y="1168482"/>
            <a:ext cx="2408540" cy="112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EA73A6DB-3B21-E093-F328-4CEFDB90DE0F}"/>
              </a:ext>
            </a:extLst>
          </p:cNvPr>
          <p:cNvSpPr txBox="1"/>
          <p:nvPr/>
        </p:nvSpPr>
        <p:spPr>
          <a:xfrm>
            <a:off x="231054" y="903065"/>
            <a:ext cx="208422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 Click ‘download template’</a:t>
            </a:r>
          </a:p>
        </p:txBody>
      </p:sp>
      <p:sp>
        <p:nvSpPr>
          <p:cNvPr id="23" name="TextBox 22">
            <a:extLst>
              <a:ext uri="{FF2B5EF4-FFF2-40B4-BE49-F238E27FC236}">
                <a16:creationId xmlns:a16="http://schemas.microsoft.com/office/drawing/2014/main" id="{6909CE11-D82F-9915-EE3B-60B930578486}"/>
              </a:ext>
            </a:extLst>
          </p:cNvPr>
          <p:cNvSpPr txBox="1"/>
          <p:nvPr/>
        </p:nvSpPr>
        <p:spPr>
          <a:xfrm>
            <a:off x="4218033" y="928348"/>
            <a:ext cx="2868567" cy="276999"/>
          </a:xfrm>
          <a:prstGeom prst="rect">
            <a:avLst/>
          </a:prstGeom>
          <a:noFill/>
        </p:spPr>
        <p:txBody>
          <a:bodyPr wrap="square" rtlCol="0">
            <a:spAutoFit/>
          </a:bodyPr>
          <a:lstStyle/>
          <a:p>
            <a:r>
              <a:rPr lang="en-US" sz="1200" dirty="0">
                <a:solidFill>
                  <a:schemeClr val="tx1"/>
                </a:solidFill>
              </a:rPr>
              <a:t>2. Choose ‘XML file’, click ‘OK’</a:t>
            </a:r>
          </a:p>
        </p:txBody>
      </p:sp>
      <p:sp>
        <p:nvSpPr>
          <p:cNvPr id="24" name="TextBox 23">
            <a:extLst>
              <a:ext uri="{FF2B5EF4-FFF2-40B4-BE49-F238E27FC236}">
                <a16:creationId xmlns:a16="http://schemas.microsoft.com/office/drawing/2014/main" id="{5350BB6D-5687-3C80-7B7B-50E49A034C13}"/>
              </a:ext>
            </a:extLst>
          </p:cNvPr>
          <p:cNvSpPr txBox="1"/>
          <p:nvPr/>
        </p:nvSpPr>
        <p:spPr>
          <a:xfrm>
            <a:off x="8281947" y="931091"/>
            <a:ext cx="3608260" cy="461665"/>
          </a:xfrm>
          <a:prstGeom prst="rect">
            <a:avLst/>
          </a:prstGeom>
          <a:noFill/>
        </p:spPr>
        <p:txBody>
          <a:bodyPr wrap="square" rtlCol="0">
            <a:spAutoFit/>
          </a:bodyPr>
          <a:lstStyle/>
          <a:p>
            <a:r>
              <a:rPr lang="en-US" sz="1200" dirty="0">
                <a:solidFill>
                  <a:schemeClr val="tx1"/>
                </a:solidFill>
              </a:rPr>
              <a:t>3. Click browser blocked button, choose allow option for downloading</a:t>
            </a:r>
          </a:p>
        </p:txBody>
      </p:sp>
      <p:sp>
        <p:nvSpPr>
          <p:cNvPr id="25" name="TextBox 24">
            <a:extLst>
              <a:ext uri="{FF2B5EF4-FFF2-40B4-BE49-F238E27FC236}">
                <a16:creationId xmlns:a16="http://schemas.microsoft.com/office/drawing/2014/main" id="{4EB7762B-6E2D-B60A-8BB5-D0E1CDE4FCC3}"/>
              </a:ext>
            </a:extLst>
          </p:cNvPr>
          <p:cNvSpPr txBox="1"/>
          <p:nvPr/>
        </p:nvSpPr>
        <p:spPr>
          <a:xfrm>
            <a:off x="240127" y="2721726"/>
            <a:ext cx="3656241"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4.</a:t>
            </a:r>
            <a:r>
              <a:rPr lang="en-US" sz="1200" dirty="0">
                <a:solidFill>
                  <a:schemeClr val="tx1"/>
                </a:solidFill>
              </a:rPr>
              <a:t>Click download template again and click ‘Keep’ for Downloads.</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08571288-C04F-E447-BFF8-F774997D5DB2}"/>
              </a:ext>
            </a:extLst>
          </p:cNvPr>
          <p:cNvSpPr txBox="1"/>
          <p:nvPr/>
        </p:nvSpPr>
        <p:spPr>
          <a:xfrm>
            <a:off x="4280719" y="2743200"/>
            <a:ext cx="3356029" cy="276999"/>
          </a:xfrm>
          <a:prstGeom prst="rect">
            <a:avLst/>
          </a:prstGeom>
          <a:noFill/>
        </p:spPr>
        <p:txBody>
          <a:bodyPr wrap="square" rtlCol="0">
            <a:spAutoFit/>
          </a:bodyPr>
          <a:lstStyle/>
          <a:p>
            <a:r>
              <a:rPr lang="en-US" sz="1200" dirty="0">
                <a:solidFill>
                  <a:schemeClr val="tx1"/>
                </a:solidFill>
              </a:rPr>
              <a:t>5. Click show in folders.</a:t>
            </a:r>
          </a:p>
        </p:txBody>
      </p:sp>
      <p:sp>
        <p:nvSpPr>
          <p:cNvPr id="27" name="TextBox 26">
            <a:extLst>
              <a:ext uri="{FF2B5EF4-FFF2-40B4-BE49-F238E27FC236}">
                <a16:creationId xmlns:a16="http://schemas.microsoft.com/office/drawing/2014/main" id="{95601417-6659-6C87-B7FF-24F5905781B4}"/>
              </a:ext>
            </a:extLst>
          </p:cNvPr>
          <p:cNvSpPr txBox="1"/>
          <p:nvPr/>
        </p:nvSpPr>
        <p:spPr>
          <a:xfrm>
            <a:off x="8316865" y="2732971"/>
            <a:ext cx="3356029" cy="276999"/>
          </a:xfrm>
          <a:prstGeom prst="rect">
            <a:avLst/>
          </a:prstGeom>
          <a:noFill/>
        </p:spPr>
        <p:txBody>
          <a:bodyPr wrap="square" rtlCol="0">
            <a:spAutoFit/>
          </a:bodyPr>
          <a:lstStyle/>
          <a:p>
            <a:r>
              <a:rPr lang="en-US" sz="1200" dirty="0">
                <a:solidFill>
                  <a:schemeClr val="tx1"/>
                </a:solidFill>
              </a:rPr>
              <a:t>6. Ignore the error, click ‘OK’’</a:t>
            </a:r>
          </a:p>
        </p:txBody>
      </p:sp>
      <p:sp>
        <p:nvSpPr>
          <p:cNvPr id="28" name="TextBox 27">
            <a:extLst>
              <a:ext uri="{FF2B5EF4-FFF2-40B4-BE49-F238E27FC236}">
                <a16:creationId xmlns:a16="http://schemas.microsoft.com/office/drawing/2014/main" id="{09C91D92-8B6E-CDE8-AD0D-0DFF8DB92515}"/>
              </a:ext>
            </a:extLst>
          </p:cNvPr>
          <p:cNvSpPr txBox="1"/>
          <p:nvPr/>
        </p:nvSpPr>
        <p:spPr>
          <a:xfrm>
            <a:off x="8316864" y="4498252"/>
            <a:ext cx="3356029" cy="461665"/>
          </a:xfrm>
          <a:prstGeom prst="rect">
            <a:avLst/>
          </a:prstGeom>
          <a:noFill/>
        </p:spPr>
        <p:txBody>
          <a:bodyPr wrap="square" rtlCol="0">
            <a:spAutoFit/>
          </a:bodyPr>
          <a:lstStyle/>
          <a:p>
            <a:r>
              <a:rPr lang="en-US" sz="1200" dirty="0">
                <a:solidFill>
                  <a:schemeClr val="tx1"/>
                </a:solidFill>
              </a:rPr>
              <a:t>9. Choose download, then you can have the file into your local from </a:t>
            </a:r>
            <a:r>
              <a:rPr lang="en-US" sz="1200" dirty="0" err="1">
                <a:solidFill>
                  <a:schemeClr val="tx1"/>
                </a:solidFill>
              </a:rPr>
              <a:t>AppStream</a:t>
            </a:r>
            <a:r>
              <a:rPr lang="en-US" sz="1200" dirty="0">
                <a:solidFill>
                  <a:schemeClr val="tx1"/>
                </a:solidFill>
              </a:rPr>
              <a:t>.</a:t>
            </a:r>
          </a:p>
        </p:txBody>
      </p:sp>
      <p:sp>
        <p:nvSpPr>
          <p:cNvPr id="29" name="TextBox 28">
            <a:extLst>
              <a:ext uri="{FF2B5EF4-FFF2-40B4-BE49-F238E27FC236}">
                <a16:creationId xmlns:a16="http://schemas.microsoft.com/office/drawing/2014/main" id="{945D13E4-AEC2-2794-A804-B8C4F007C8D6}"/>
              </a:ext>
            </a:extLst>
          </p:cNvPr>
          <p:cNvSpPr txBox="1"/>
          <p:nvPr/>
        </p:nvSpPr>
        <p:spPr>
          <a:xfrm>
            <a:off x="4265112" y="4498251"/>
            <a:ext cx="3708851" cy="461665"/>
          </a:xfrm>
          <a:prstGeom prst="rect">
            <a:avLst/>
          </a:prstGeom>
          <a:noFill/>
        </p:spPr>
        <p:txBody>
          <a:bodyPr wrap="square" rtlCol="0">
            <a:spAutoFit/>
          </a:bodyPr>
          <a:lstStyle/>
          <a:p>
            <a:r>
              <a:rPr lang="en-US" sz="1200" dirty="0">
                <a:solidFill>
                  <a:schemeClr val="tx1"/>
                </a:solidFill>
              </a:rPr>
              <a:t>8. Click </a:t>
            </a:r>
            <a:r>
              <a:rPr lang="en-US" sz="1200" dirty="0" err="1">
                <a:solidFill>
                  <a:schemeClr val="tx1"/>
                </a:solidFill>
              </a:rPr>
              <a:t>AppStream</a:t>
            </a:r>
            <a:r>
              <a:rPr lang="en-US" sz="1200" dirty="0">
                <a:solidFill>
                  <a:schemeClr val="tx1"/>
                </a:solidFill>
              </a:rPr>
              <a:t> ‘folder’ button. You can see files sync up from This PC  ‘Temporary Files’ folder.</a:t>
            </a:r>
          </a:p>
        </p:txBody>
      </p:sp>
      <p:sp>
        <p:nvSpPr>
          <p:cNvPr id="30" name="TextBox 29">
            <a:extLst>
              <a:ext uri="{FF2B5EF4-FFF2-40B4-BE49-F238E27FC236}">
                <a16:creationId xmlns:a16="http://schemas.microsoft.com/office/drawing/2014/main" id="{AAC222A6-3268-3469-DAD5-7B0D057DA0DB}"/>
              </a:ext>
            </a:extLst>
          </p:cNvPr>
          <p:cNvSpPr txBox="1"/>
          <p:nvPr/>
        </p:nvSpPr>
        <p:spPr>
          <a:xfrm>
            <a:off x="222419" y="4504783"/>
            <a:ext cx="3708851" cy="646331"/>
          </a:xfrm>
          <a:prstGeom prst="rect">
            <a:avLst/>
          </a:prstGeom>
          <a:noFill/>
        </p:spPr>
        <p:txBody>
          <a:bodyPr wrap="square" rtlCol="0">
            <a:spAutoFit/>
          </a:bodyPr>
          <a:lstStyle/>
          <a:p>
            <a:r>
              <a:rPr lang="en-US" sz="1200" dirty="0">
                <a:solidFill>
                  <a:schemeClr val="tx1"/>
                </a:solidFill>
              </a:rPr>
              <a:t>7. Drag it into listed folder ‘Temporary Files</a:t>
            </a:r>
            <a:r>
              <a:rPr lang="en-US" sz="1200" b="1" dirty="0">
                <a:solidFill>
                  <a:schemeClr val="tx1"/>
                </a:solidFill>
              </a:rPr>
              <a:t>’, this step is very important</a:t>
            </a:r>
            <a:r>
              <a:rPr lang="en-US" sz="1200" dirty="0">
                <a:solidFill>
                  <a:schemeClr val="tx1"/>
                </a:solidFill>
              </a:rPr>
              <a:t>, you need to drag the files into this folder.</a:t>
            </a:r>
          </a:p>
        </p:txBody>
      </p:sp>
      <p:cxnSp>
        <p:nvCxnSpPr>
          <p:cNvPr id="2048" name="Straight Connector 2047">
            <a:extLst>
              <a:ext uri="{FF2B5EF4-FFF2-40B4-BE49-F238E27FC236}">
                <a16:creationId xmlns:a16="http://schemas.microsoft.com/office/drawing/2014/main" id="{888C052D-CA47-EC9C-C721-9FE454446229}"/>
              </a:ext>
            </a:extLst>
          </p:cNvPr>
          <p:cNvCxnSpPr>
            <a:cxnSpLocks/>
          </p:cNvCxnSpPr>
          <p:nvPr/>
        </p:nvCxnSpPr>
        <p:spPr>
          <a:xfrm>
            <a:off x="4114800" y="762000"/>
            <a:ext cx="0" cy="60198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56" name="Straight Connector 2055">
            <a:extLst>
              <a:ext uri="{FF2B5EF4-FFF2-40B4-BE49-F238E27FC236}">
                <a16:creationId xmlns:a16="http://schemas.microsoft.com/office/drawing/2014/main" id="{6D930495-48B6-FCC6-E46B-2F4426AD0D7C}"/>
              </a:ext>
            </a:extLst>
          </p:cNvPr>
          <p:cNvCxnSpPr>
            <a:cxnSpLocks/>
          </p:cNvCxnSpPr>
          <p:nvPr/>
        </p:nvCxnSpPr>
        <p:spPr>
          <a:xfrm>
            <a:off x="8077200" y="762000"/>
            <a:ext cx="0" cy="60198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57" name="Straight Connector 2056">
            <a:extLst>
              <a:ext uri="{FF2B5EF4-FFF2-40B4-BE49-F238E27FC236}">
                <a16:creationId xmlns:a16="http://schemas.microsoft.com/office/drawing/2014/main" id="{DCA05418-150C-E909-EF54-6AE45A45FAC0}"/>
              </a:ext>
            </a:extLst>
          </p:cNvPr>
          <p:cNvCxnSpPr>
            <a:cxnSpLocks/>
          </p:cNvCxnSpPr>
          <p:nvPr/>
        </p:nvCxnSpPr>
        <p:spPr>
          <a:xfrm>
            <a:off x="0" y="4419600"/>
            <a:ext cx="1219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61" name="Straight Connector 2060">
            <a:extLst>
              <a:ext uri="{FF2B5EF4-FFF2-40B4-BE49-F238E27FC236}">
                <a16:creationId xmlns:a16="http://schemas.microsoft.com/office/drawing/2014/main" id="{4F7AD447-6B66-B214-B8D9-6EB91D22AE1A}"/>
              </a:ext>
            </a:extLst>
          </p:cNvPr>
          <p:cNvCxnSpPr>
            <a:cxnSpLocks/>
          </p:cNvCxnSpPr>
          <p:nvPr/>
        </p:nvCxnSpPr>
        <p:spPr>
          <a:xfrm>
            <a:off x="0" y="2624475"/>
            <a:ext cx="1219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042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4E3CB-4E38-11F7-F913-66472EDF71C7}"/>
              </a:ext>
            </a:extLst>
          </p:cNvPr>
          <p:cNvSpPr>
            <a:spLocks noGrp="1"/>
          </p:cNvSpPr>
          <p:nvPr>
            <p:ph type="title"/>
          </p:nvPr>
        </p:nvSpPr>
        <p:spPr/>
        <p:txBody>
          <a:bodyPr/>
          <a:lstStyle/>
          <a:p>
            <a:r>
              <a:rPr lang="en-US" dirty="0"/>
              <a:t>Client Details</a:t>
            </a:r>
          </a:p>
        </p:txBody>
      </p:sp>
      <p:sp>
        <p:nvSpPr>
          <p:cNvPr id="6" name="スライド番号プレースホルダー 3">
            <a:extLst>
              <a:ext uri="{FF2B5EF4-FFF2-40B4-BE49-F238E27FC236}">
                <a16:creationId xmlns:a16="http://schemas.microsoft.com/office/drawing/2014/main" id="{1784CED4-3589-C4F9-925A-08D7A8BE8CB1}"/>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9</a:t>
            </a:fld>
            <a:endParaRPr lang="ja-JP" altLang="en-US" dirty="0"/>
          </a:p>
        </p:txBody>
      </p:sp>
      <p:sp>
        <p:nvSpPr>
          <p:cNvPr id="7" name="フッター プレースホルダー 2">
            <a:extLst>
              <a:ext uri="{FF2B5EF4-FFF2-40B4-BE49-F238E27FC236}">
                <a16:creationId xmlns:a16="http://schemas.microsoft.com/office/drawing/2014/main" id="{7A45754E-79A5-29A3-20FD-8F9DD4211928}"/>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pic>
        <p:nvPicPr>
          <p:cNvPr id="4" name="Picture 3">
            <a:extLst>
              <a:ext uri="{FF2B5EF4-FFF2-40B4-BE49-F238E27FC236}">
                <a16:creationId xmlns:a16="http://schemas.microsoft.com/office/drawing/2014/main" id="{A3D257C8-1D04-7CDC-BC9E-D6C377D1A0F4}"/>
              </a:ext>
            </a:extLst>
          </p:cNvPr>
          <p:cNvPicPr>
            <a:picLocks noChangeAspect="1"/>
          </p:cNvPicPr>
          <p:nvPr/>
        </p:nvPicPr>
        <p:blipFill>
          <a:blip r:embed="rId2"/>
          <a:stretch>
            <a:fillRect/>
          </a:stretch>
        </p:blipFill>
        <p:spPr>
          <a:xfrm>
            <a:off x="152400" y="1436738"/>
            <a:ext cx="7430341" cy="3429000"/>
          </a:xfrm>
          <a:prstGeom prst="rect">
            <a:avLst/>
          </a:prstGeom>
        </p:spPr>
      </p:pic>
      <p:pic>
        <p:nvPicPr>
          <p:cNvPr id="5" name="Picture 4">
            <a:extLst>
              <a:ext uri="{FF2B5EF4-FFF2-40B4-BE49-F238E27FC236}">
                <a16:creationId xmlns:a16="http://schemas.microsoft.com/office/drawing/2014/main" id="{53E533E1-5EBA-AB5F-57EF-995C67A47E48}"/>
              </a:ext>
            </a:extLst>
          </p:cNvPr>
          <p:cNvPicPr>
            <a:picLocks noChangeAspect="1"/>
          </p:cNvPicPr>
          <p:nvPr/>
        </p:nvPicPr>
        <p:blipFill rotWithShape="1">
          <a:blip r:embed="rId3"/>
          <a:srcRect l="18779" t="22953" r="38832" b="-1"/>
          <a:stretch/>
        </p:blipFill>
        <p:spPr>
          <a:xfrm>
            <a:off x="7874089" y="1436739"/>
            <a:ext cx="4160748" cy="3429000"/>
          </a:xfrm>
          <a:prstGeom prst="rect">
            <a:avLst/>
          </a:prstGeom>
        </p:spPr>
      </p:pic>
    </p:spTree>
    <p:extLst>
      <p:ext uri="{BB962C8B-B14F-4D97-AF65-F5344CB8AC3E}">
        <p14:creationId xmlns:p14="http://schemas.microsoft.com/office/powerpoint/2010/main" val="1614515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Introduction</a:t>
            </a:r>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fld id="{48394356-8693-4048-8EAF-2BF05B04AA80}" type="slidenum">
              <a:rPr lang="ja-JP" altLang="en-US" smtClean="0"/>
              <a:pPr/>
              <a:t>3</a:t>
            </a:fld>
            <a:endParaRPr lang="ja-JP" altLang="en-US"/>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r>
              <a:rPr lang="en-US" altLang="ja-JP"/>
              <a:t>Mitsubishi Chemical Group</a:t>
            </a:r>
            <a:endParaRPr lang="ja-JP" altLang="en-US"/>
          </a:p>
        </p:txBody>
      </p:sp>
    </p:spTree>
    <p:extLst>
      <p:ext uri="{BB962C8B-B14F-4D97-AF65-F5344CB8AC3E}">
        <p14:creationId xmlns:p14="http://schemas.microsoft.com/office/powerpoint/2010/main" val="4764657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4595C7-1323-A721-0370-3E03C9BEC19F}"/>
              </a:ext>
            </a:extLst>
          </p:cNvPr>
          <p:cNvSpPr>
            <a:spLocks noGrp="1"/>
          </p:cNvSpPr>
          <p:nvPr>
            <p:ph type="body" sz="quarter" idx="11"/>
          </p:nvPr>
        </p:nvSpPr>
        <p:spPr>
          <a:xfrm>
            <a:off x="516000" y="4188146"/>
            <a:ext cx="11160000" cy="1500803"/>
          </a:xfrm>
        </p:spPr>
        <p:txBody>
          <a:bodyPr/>
          <a:lstStyle/>
          <a:p>
            <a:pPr marL="342900" indent="-342900">
              <a:buFont typeface="Arial" panose="020B0604020202020204" pitchFamily="34" charset="0"/>
              <a:buChar char="•"/>
            </a:pPr>
            <a:r>
              <a:rPr lang="en-IN" dirty="0"/>
              <a:t>Business Card Exchange</a:t>
            </a:r>
          </a:p>
          <a:p>
            <a:pPr marL="342900" indent="-342900">
              <a:buFont typeface="Arial" panose="020B0604020202020204" pitchFamily="34" charset="0"/>
              <a:buChar char="•"/>
            </a:pPr>
            <a:r>
              <a:rPr lang="en-IN" dirty="0"/>
              <a:t>Bowing</a:t>
            </a:r>
          </a:p>
          <a:p>
            <a:pPr marL="342900" indent="-342900">
              <a:buFont typeface="Arial" panose="020B0604020202020204" pitchFamily="34" charset="0"/>
              <a:buChar char="•"/>
            </a:pPr>
            <a:r>
              <a:rPr lang="en-IN" dirty="0"/>
              <a:t>Seat of honour</a:t>
            </a:r>
          </a:p>
          <a:p>
            <a:pPr marL="342900" indent="-342900">
              <a:buFont typeface="Arial" panose="020B0604020202020204" pitchFamily="34" charset="0"/>
              <a:buChar char="•"/>
            </a:pPr>
            <a:r>
              <a:rPr lang="en-IN" dirty="0"/>
              <a:t>Command &amp; Order</a:t>
            </a:r>
          </a:p>
        </p:txBody>
      </p:sp>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Work Culture</a:t>
            </a:r>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0" lang="ja-JP" altLang="en-US" sz="1100" b="0" i="0" u="none" strike="noStrike" kern="1200" cap="none" spc="0" normalizeH="0" baseline="0" noProof="0" smtClean="0">
                <a:ln>
                  <a:noFill/>
                </a:ln>
                <a:solidFill>
                  <a:prstClr val="black"/>
                </a:solidFill>
                <a:effectLst/>
                <a:uLnTx/>
                <a:uFillTx/>
                <a:latin typeface="Arial" panose="020B0604020202020204"/>
                <a:ea typeface="ＭＳ Ｐゴシック"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Mitsubishi Chemical Group</a:t>
            </a:r>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2376713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EB991AF0-1E36-3F54-E5B1-57093784963A}"/>
              </a:ext>
            </a:extLst>
          </p:cNvPr>
          <p:cNvSpPr>
            <a:spLocks noGrp="1"/>
          </p:cNvSpPr>
          <p:nvPr>
            <p:ph type="body" sz="quarter" idx="11"/>
          </p:nvPr>
        </p:nvSpPr>
        <p:spPr>
          <a:xfrm>
            <a:off x="228988" y="1197287"/>
            <a:ext cx="5760000" cy="5132001"/>
          </a:xfrm>
        </p:spPr>
        <p:txBody>
          <a:bodyPr>
            <a:normAutofit fontScale="32500" lnSpcReduction="20000"/>
          </a:bodyPr>
          <a:lstStyle/>
          <a:p>
            <a:pPr marL="285750" indent="-285750">
              <a:buFont typeface="Arial" panose="020B0604020202020204" pitchFamily="34" charset="0"/>
              <a:buChar char="•"/>
            </a:pPr>
            <a:r>
              <a:rPr lang="en-US" sz="3400" dirty="0"/>
              <a:t>Always keep your business cards in clean condition.</a:t>
            </a:r>
          </a:p>
          <a:p>
            <a:pPr marL="285750" indent="-285750">
              <a:buFont typeface="Arial" panose="020B0604020202020204" pitchFamily="34" charset="0"/>
              <a:buChar char="•"/>
            </a:pPr>
            <a:r>
              <a:rPr lang="en-US" sz="3400" dirty="0"/>
              <a:t>Stand up and offer the card with the Japanese side facing upwards toward the recipient. Offering the card with both hands will demonstrate greater respect. Say “</a:t>
            </a:r>
            <a:r>
              <a:rPr lang="en-US" sz="3400" dirty="0" err="1"/>
              <a:t>yoroshikuonegaishimasu</a:t>
            </a:r>
            <a:r>
              <a:rPr lang="en-US" sz="3400" dirty="0"/>
              <a:t>”.</a:t>
            </a:r>
          </a:p>
          <a:p>
            <a:pPr marL="285750" indent="-285750">
              <a:buFont typeface="Arial" panose="020B0604020202020204" pitchFamily="34" charset="0"/>
              <a:buChar char="•"/>
            </a:pPr>
            <a:r>
              <a:rPr lang="en-US" sz="3400" dirty="0"/>
              <a:t>Receive the other person’s business card with both hands and bow. Say “</a:t>
            </a:r>
            <a:r>
              <a:rPr lang="en-US" sz="3400" dirty="0" err="1"/>
              <a:t>Arigatougozaimasu</a:t>
            </a:r>
            <a:r>
              <a:rPr lang="en-US" sz="3400" dirty="0"/>
              <a:t>.”</a:t>
            </a:r>
          </a:p>
          <a:p>
            <a:pPr marL="285750" indent="-285750">
              <a:buFont typeface="Arial" panose="020B0604020202020204" pitchFamily="34" charset="0"/>
              <a:buChar char="•"/>
            </a:pPr>
            <a:r>
              <a:rPr lang="en-US" sz="3400" dirty="0"/>
              <a:t>Hold the card by its edges, thank the person and read the card. You can inadvertently convey disrespect if you grab the card and simply shove it into your pocket. Absorbing what is on the card not only shows that you are interested, it also gives you a chance to learn something about the person and the company that could help you transition into a meaningful conversation.</a:t>
            </a:r>
          </a:p>
          <a:p>
            <a:pPr marL="285750" indent="-285750">
              <a:buFont typeface="Arial" panose="020B0604020202020204" pitchFamily="34" charset="0"/>
              <a:buChar char="•"/>
            </a:pPr>
            <a:r>
              <a:rPr lang="en-US" sz="3400" dirty="0"/>
              <a:t> If there are several Japanese, you will find that cards are presented according to rank, with the highest-ranking individual presenting his card last.</a:t>
            </a:r>
          </a:p>
          <a:p>
            <a:pPr marL="285750" indent="-285750">
              <a:buFont typeface="Arial" panose="020B0604020202020204" pitchFamily="34" charset="0"/>
              <a:buChar char="•"/>
            </a:pPr>
            <a:r>
              <a:rPr lang="en-US" sz="3400" dirty="0"/>
              <a:t>During a meeting, place the business cards on the table in front of you in the order people are seated.</a:t>
            </a:r>
          </a:p>
          <a:p>
            <a:pPr marL="285750" indent="-285750">
              <a:buFont typeface="Arial" panose="020B0604020202020204" pitchFamily="34" charset="0"/>
              <a:buChar char="•"/>
            </a:pPr>
            <a:r>
              <a:rPr lang="en-US" sz="3400" dirty="0"/>
              <a:t>When the meeting is over, put the business cards in a business card case or a portfolio. </a:t>
            </a:r>
          </a:p>
          <a:p>
            <a:endParaRPr lang="en-IN" dirty="0"/>
          </a:p>
        </p:txBody>
      </p:sp>
      <p:sp>
        <p:nvSpPr>
          <p:cNvPr id="12" name="Text Placeholder 11">
            <a:extLst>
              <a:ext uri="{FF2B5EF4-FFF2-40B4-BE49-F238E27FC236}">
                <a16:creationId xmlns:a16="http://schemas.microsoft.com/office/drawing/2014/main" id="{BA2D64A1-62CA-7A10-26C3-8147C477B4BE}"/>
              </a:ext>
            </a:extLst>
          </p:cNvPr>
          <p:cNvSpPr>
            <a:spLocks noGrp="1"/>
          </p:cNvSpPr>
          <p:nvPr>
            <p:ph type="body" sz="quarter" idx="12"/>
          </p:nvPr>
        </p:nvSpPr>
        <p:spPr/>
        <p:txBody>
          <a:bodyPr/>
          <a:lstStyle/>
          <a:p>
            <a:pPr marL="285750" indent="-285750">
              <a:buFont typeface="Arial" panose="020B0604020202020204" pitchFamily="34" charset="0"/>
              <a:buChar char="•"/>
            </a:pPr>
            <a:r>
              <a:rPr lang="en-US" sz="1200" dirty="0" err="1"/>
              <a:t>Esyaku</a:t>
            </a:r>
            <a:r>
              <a:rPr lang="en-US" sz="1200" dirty="0"/>
              <a:t> …..15 degrees.  This is used when people come or leave the office. </a:t>
            </a:r>
          </a:p>
          <a:p>
            <a:pPr marL="285750" indent="-285750">
              <a:buFont typeface="Arial" panose="020B0604020202020204" pitchFamily="34" charset="0"/>
              <a:buChar char="•"/>
            </a:pPr>
            <a:r>
              <a:rPr lang="en-US" sz="1200" dirty="0" err="1"/>
              <a:t>Churei</a:t>
            </a:r>
            <a:r>
              <a:rPr lang="en-US" sz="1200" dirty="0"/>
              <a:t>…… 30 degrees. This is used when people meet or see off their customers.</a:t>
            </a:r>
          </a:p>
          <a:p>
            <a:pPr marL="285750" indent="-285750">
              <a:buFont typeface="Arial" panose="020B0604020202020204" pitchFamily="34" charset="0"/>
              <a:buChar char="•"/>
            </a:pPr>
            <a:r>
              <a:rPr lang="en-US" sz="1200" dirty="0" err="1"/>
              <a:t>Keirei</a:t>
            </a:r>
            <a:r>
              <a:rPr lang="en-US" sz="1200" dirty="0"/>
              <a:t>……..45 degrees. This is used during ceremonial occasions. This is used also when people would like to sincerely appreciate or apologize.</a:t>
            </a:r>
          </a:p>
          <a:p>
            <a:endParaRPr lang="en-IN" dirty="0"/>
          </a:p>
        </p:txBody>
      </p:sp>
      <p:sp>
        <p:nvSpPr>
          <p:cNvPr id="4" name="スライド番号プレースホルダー 3">
            <a:extLst>
              <a:ext uri="{FF2B5EF4-FFF2-40B4-BE49-F238E27FC236}">
                <a16:creationId xmlns:a16="http://schemas.microsoft.com/office/drawing/2014/main" id="{04798C56-99C3-54EC-4F22-937CA3EE5AC4}"/>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1</a:t>
            </a:fld>
            <a:endParaRPr lang="ja-JP" altLang="en-US" dirty="0"/>
          </a:p>
        </p:txBody>
      </p:sp>
      <p:sp>
        <p:nvSpPr>
          <p:cNvPr id="7" name="フッター プレースホルダー 2">
            <a:extLst>
              <a:ext uri="{FF2B5EF4-FFF2-40B4-BE49-F238E27FC236}">
                <a16:creationId xmlns:a16="http://schemas.microsoft.com/office/drawing/2014/main" id="{2A942AA7-51C6-0229-10EB-3B8F29C9F56A}"/>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2" name="Title 1"/>
          <p:cNvSpPr>
            <a:spLocks noGrp="1"/>
          </p:cNvSpPr>
          <p:nvPr>
            <p:ph type="title"/>
          </p:nvPr>
        </p:nvSpPr>
        <p:spPr/>
        <p:txBody>
          <a:bodyPr/>
          <a:lstStyle/>
          <a:p>
            <a:r>
              <a:rPr lang="en-IN" dirty="0"/>
              <a:t>Business Card Exchange</a:t>
            </a:r>
          </a:p>
        </p:txBody>
      </p:sp>
      <p:sp>
        <p:nvSpPr>
          <p:cNvPr id="8" name="Title 1"/>
          <p:cNvSpPr txBox="1">
            <a:spLocks/>
          </p:cNvSpPr>
          <p:nvPr/>
        </p:nvSpPr>
        <p:spPr>
          <a:xfrm>
            <a:off x="6350001" y="304800"/>
            <a:ext cx="5614987" cy="716711"/>
          </a:xfrm>
          <a:prstGeom prst="rect">
            <a:avLst/>
          </a:prstGeom>
        </p:spPr>
        <p:txBody>
          <a:bodyPr vert="horz" lIns="0" tIns="0" rIns="0" bIns="0" rtlCol="0" anchor="t">
            <a:noAutofit/>
          </a:bodyPr>
          <a:lstStyle>
            <a:lvl1pPr marL="0" marR="0" indent="0" algn="l" defTabSz="914126" rtl="0" eaLnBrk="1" fontAlgn="auto" latinLnBrk="0" hangingPunct="1">
              <a:lnSpc>
                <a:spcPct val="80000"/>
              </a:lnSpc>
              <a:spcBef>
                <a:spcPct val="0"/>
              </a:spcBef>
              <a:spcAft>
                <a:spcPts val="0"/>
              </a:spcAft>
              <a:buClrTx/>
              <a:buSzTx/>
              <a:buFontTx/>
              <a:buNone/>
              <a:tabLst/>
              <a:defRPr kumimoji="0" lang="en-US" sz="2800" b="1" i="0" u="none" strike="noStrike" kern="1200" cap="all" spc="0" normalizeH="0" baseline="0" noProof="0">
                <a:ln>
                  <a:noFill/>
                </a:ln>
                <a:solidFill>
                  <a:schemeClr val="tx2"/>
                </a:solidFill>
                <a:effectLst/>
                <a:uLnTx/>
                <a:uFillTx/>
                <a:latin typeface="+mn-lt"/>
                <a:ea typeface="+mj-ea"/>
                <a:cs typeface="+mj-cs"/>
              </a:defRPr>
            </a:lvl1pPr>
          </a:lstStyle>
          <a:p>
            <a:r>
              <a:rPr kumimoji="1" lang="en-IN" sz="2400" cap="none" spc="-50" dirty="0">
                <a:solidFill>
                  <a:schemeClr val="tx1"/>
                </a:solidFill>
                <a:latin typeface="+mj-lt"/>
              </a:rPr>
              <a:t>Bowing</a:t>
            </a:r>
          </a:p>
        </p:txBody>
      </p:sp>
      <p:pic>
        <p:nvPicPr>
          <p:cNvPr id="10" name="Picture 2" descr="http://www.shigoto.pref.saitama.lg.jp/interview/img/p_figure.jpg"/>
          <p:cNvPicPr>
            <a:picLocks noChangeAspect="1" noChangeArrowheads="1"/>
          </p:cNvPicPr>
          <p:nvPr/>
        </p:nvPicPr>
        <p:blipFill>
          <a:blip r:embed="rId2"/>
          <a:srcRect/>
          <a:stretch>
            <a:fillRect/>
          </a:stretch>
        </p:blipFill>
        <p:spPr bwMode="auto">
          <a:xfrm>
            <a:off x="6830376" y="3505200"/>
            <a:ext cx="3980191" cy="2824089"/>
          </a:xfrm>
          <a:prstGeom prst="rect">
            <a:avLst/>
          </a:prstGeom>
          <a:noFill/>
        </p:spPr>
      </p:pic>
    </p:spTree>
    <p:extLst>
      <p:ext uri="{BB962C8B-B14F-4D97-AF65-F5344CB8AC3E}">
        <p14:creationId xmlns:p14="http://schemas.microsoft.com/office/powerpoint/2010/main" val="29607200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A1A9F3F8-1E09-F832-87CE-A29E0D97EB14}"/>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2</a:t>
            </a:fld>
            <a:endParaRPr lang="ja-JP" altLang="en-US" dirty="0"/>
          </a:p>
        </p:txBody>
      </p:sp>
      <p:sp>
        <p:nvSpPr>
          <p:cNvPr id="8" name="フッター プレースホルダー 2">
            <a:extLst>
              <a:ext uri="{FF2B5EF4-FFF2-40B4-BE49-F238E27FC236}">
                <a16:creationId xmlns:a16="http://schemas.microsoft.com/office/drawing/2014/main" id="{76F9CA41-EA0F-62AB-556D-8C783AC2CDD9}"/>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2" name="Title 1"/>
          <p:cNvSpPr>
            <a:spLocks noGrp="1"/>
          </p:cNvSpPr>
          <p:nvPr>
            <p:ph type="title"/>
          </p:nvPr>
        </p:nvSpPr>
        <p:spPr/>
        <p:txBody>
          <a:bodyPr/>
          <a:lstStyle/>
          <a:p>
            <a:r>
              <a:rPr lang="en-IN" dirty="0"/>
              <a:t>Seat Of Honour</a:t>
            </a:r>
          </a:p>
        </p:txBody>
      </p:sp>
      <p:pic>
        <p:nvPicPr>
          <p:cNvPr id="5" name="Picture 4"/>
          <p:cNvPicPr>
            <a:picLocks noChangeAspect="1"/>
          </p:cNvPicPr>
          <p:nvPr/>
        </p:nvPicPr>
        <p:blipFill>
          <a:blip r:embed="rId2"/>
          <a:stretch>
            <a:fillRect/>
          </a:stretch>
        </p:blipFill>
        <p:spPr>
          <a:xfrm>
            <a:off x="9829800" y="1104899"/>
            <a:ext cx="2286000" cy="2832162"/>
          </a:xfrm>
          <a:prstGeom prst="rect">
            <a:avLst/>
          </a:prstGeom>
        </p:spPr>
      </p:pic>
      <p:pic>
        <p:nvPicPr>
          <p:cNvPr id="6" name="Picture 5"/>
          <p:cNvPicPr>
            <a:picLocks noChangeAspect="1"/>
          </p:cNvPicPr>
          <p:nvPr/>
        </p:nvPicPr>
        <p:blipFill>
          <a:blip r:embed="rId3"/>
          <a:stretch>
            <a:fillRect/>
          </a:stretch>
        </p:blipFill>
        <p:spPr>
          <a:xfrm>
            <a:off x="404814" y="1104899"/>
            <a:ext cx="2609774" cy="2857501"/>
          </a:xfrm>
          <a:prstGeom prst="rect">
            <a:avLst/>
          </a:prstGeom>
        </p:spPr>
      </p:pic>
      <p:sp>
        <p:nvSpPr>
          <p:cNvPr id="7" name="Flowchart: Sequential Access Storage 6"/>
          <p:cNvSpPr/>
          <p:nvPr/>
        </p:nvSpPr>
        <p:spPr>
          <a:xfrm flipH="1">
            <a:off x="3124200" y="1377980"/>
            <a:ext cx="2667000" cy="2286000"/>
          </a:xfrm>
          <a:prstGeom prst="flowChartMagneticTap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FE8637"/>
              </a:buClr>
              <a:buSzPct val="70000"/>
              <a:buFont typeface="Wingdings"/>
              <a:buChar char=""/>
              <a:defRPr/>
            </a:pPr>
            <a:endParaRPr lang="en-US" sz="1600" dirty="0">
              <a:solidFill>
                <a:sysClr val="windowText" lastClr="000000"/>
              </a:solidFill>
            </a:endParaRPr>
          </a:p>
          <a:p>
            <a:pPr marL="274320" lvl="0" indent="-274320">
              <a:spcBef>
                <a:spcPts val="600"/>
              </a:spcBef>
              <a:buClr>
                <a:srgbClr val="FE8637"/>
              </a:buClr>
              <a:buSzPct val="70000"/>
              <a:buFont typeface="Wingdings"/>
              <a:buChar char=""/>
              <a:defRPr/>
            </a:pPr>
            <a:r>
              <a:rPr lang="en-US" sz="1500" dirty="0">
                <a:solidFill>
                  <a:sysClr val="windowText" lastClr="000000"/>
                </a:solidFill>
              </a:rPr>
              <a:t>Your clients will sit at No.1,2,3.</a:t>
            </a:r>
          </a:p>
          <a:p>
            <a:pPr marL="274320" lvl="0" indent="-274320">
              <a:spcBef>
                <a:spcPts val="600"/>
              </a:spcBef>
              <a:buClr>
                <a:srgbClr val="FE8637"/>
              </a:buClr>
              <a:buSzPct val="70000"/>
              <a:buFont typeface="Wingdings"/>
              <a:buChar char=""/>
              <a:defRPr/>
            </a:pPr>
            <a:r>
              <a:rPr lang="en-US" sz="1500" dirty="0">
                <a:solidFill>
                  <a:sysClr val="windowText" lastClr="000000"/>
                </a:solidFill>
              </a:rPr>
              <a:t>People from your company will sit at No.4,5,6.</a:t>
            </a:r>
          </a:p>
          <a:p>
            <a:pPr algn="ctr"/>
            <a:endParaRPr lang="en-IN" dirty="0">
              <a:solidFill>
                <a:schemeClr val="tx1"/>
              </a:solidFill>
            </a:endParaRPr>
          </a:p>
        </p:txBody>
      </p:sp>
      <p:sp>
        <p:nvSpPr>
          <p:cNvPr id="10" name="Flowchart: Sequential Access Storage 9"/>
          <p:cNvSpPr/>
          <p:nvPr/>
        </p:nvSpPr>
        <p:spPr>
          <a:xfrm>
            <a:off x="6934200" y="1377980"/>
            <a:ext cx="2667000" cy="2286000"/>
          </a:xfrm>
          <a:prstGeom prst="flowChartMagneticTap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FE8637"/>
              </a:buClr>
              <a:buSzPct val="70000"/>
              <a:buFont typeface="Wingdings"/>
              <a:buChar char=""/>
              <a:defRPr/>
            </a:pPr>
            <a:endParaRPr lang="en-US" sz="1600" dirty="0">
              <a:solidFill>
                <a:sysClr val="windowText" lastClr="000000"/>
              </a:solidFill>
            </a:endParaRPr>
          </a:p>
          <a:p>
            <a:pPr marL="274320" indent="-274320">
              <a:spcBef>
                <a:spcPts val="600"/>
              </a:spcBef>
              <a:buClr>
                <a:srgbClr val="FE8637"/>
              </a:buClr>
              <a:buSzPct val="70000"/>
              <a:buFont typeface="Wingdings"/>
              <a:buChar char=""/>
              <a:defRPr/>
            </a:pPr>
            <a:r>
              <a:rPr lang="en-US" sz="1500" dirty="0">
                <a:solidFill>
                  <a:sysClr val="windowText" lastClr="000000"/>
                </a:solidFill>
              </a:rPr>
              <a:t>Your client or a person with the highest rank will sit at No.1</a:t>
            </a:r>
          </a:p>
          <a:p>
            <a:pPr marL="274320" indent="-274320">
              <a:spcBef>
                <a:spcPts val="600"/>
              </a:spcBef>
              <a:buClr>
                <a:srgbClr val="FE8637"/>
              </a:buClr>
              <a:buSzPct val="70000"/>
              <a:buFont typeface="Wingdings"/>
              <a:buChar char=""/>
              <a:defRPr/>
            </a:pPr>
            <a:r>
              <a:rPr lang="en-US" sz="1500" dirty="0">
                <a:solidFill>
                  <a:sysClr val="windowText" lastClr="000000"/>
                </a:solidFill>
              </a:rPr>
              <a:t>A person with the lowest rank will sit at No.4.</a:t>
            </a:r>
          </a:p>
          <a:p>
            <a:pPr algn="ctr"/>
            <a:endParaRPr lang="en-IN" dirty="0">
              <a:solidFill>
                <a:schemeClr val="tx1"/>
              </a:solidFill>
            </a:endParaRPr>
          </a:p>
        </p:txBody>
      </p:sp>
      <p:pic>
        <p:nvPicPr>
          <p:cNvPr id="11" name="Picture 10"/>
          <p:cNvPicPr>
            <a:picLocks noChangeAspect="1"/>
          </p:cNvPicPr>
          <p:nvPr/>
        </p:nvPicPr>
        <p:blipFill>
          <a:blip r:embed="rId4"/>
          <a:stretch>
            <a:fillRect/>
          </a:stretch>
        </p:blipFill>
        <p:spPr>
          <a:xfrm>
            <a:off x="6160873" y="3774043"/>
            <a:ext cx="2845966" cy="2643937"/>
          </a:xfrm>
          <a:prstGeom prst="rect">
            <a:avLst/>
          </a:prstGeom>
        </p:spPr>
      </p:pic>
      <p:sp>
        <p:nvSpPr>
          <p:cNvPr id="12" name="Flowchart: Sequential Access Storage 11"/>
          <p:cNvSpPr/>
          <p:nvPr/>
        </p:nvSpPr>
        <p:spPr>
          <a:xfrm flipH="1">
            <a:off x="9067799" y="4419600"/>
            <a:ext cx="2542869" cy="1848234"/>
          </a:xfrm>
          <a:prstGeom prst="flowChartMagneticTap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FE8637"/>
              </a:buClr>
              <a:buSzPct val="70000"/>
              <a:buFont typeface="Wingdings"/>
              <a:buChar char=""/>
              <a:defRPr/>
            </a:pPr>
            <a:endParaRPr lang="en-US" sz="1600" dirty="0">
              <a:solidFill>
                <a:sysClr val="windowText" lastClr="000000"/>
              </a:solidFill>
            </a:endParaRPr>
          </a:p>
          <a:p>
            <a:pPr marL="274320" indent="-274320">
              <a:spcBef>
                <a:spcPts val="600"/>
              </a:spcBef>
              <a:buClr>
                <a:srgbClr val="FE8637"/>
              </a:buClr>
              <a:buSzPct val="70000"/>
              <a:buFont typeface="Wingdings"/>
              <a:buChar char=""/>
              <a:defRPr/>
            </a:pPr>
            <a:r>
              <a:rPr lang="en-US" sz="1500" dirty="0">
                <a:solidFill>
                  <a:sysClr val="windowText" lastClr="000000"/>
                </a:solidFill>
              </a:rPr>
              <a:t>The arrow represents the traveling direction.</a:t>
            </a:r>
          </a:p>
          <a:p>
            <a:pPr marL="274320" lvl="0" indent="-274320">
              <a:spcBef>
                <a:spcPts val="600"/>
              </a:spcBef>
              <a:buClr>
                <a:srgbClr val="FE8637"/>
              </a:buClr>
              <a:buSzPct val="70000"/>
              <a:buFont typeface="Wingdings"/>
              <a:buChar char=""/>
              <a:defRPr/>
            </a:pPr>
            <a:endParaRPr lang="en-IN" dirty="0">
              <a:solidFill>
                <a:schemeClr val="tx1"/>
              </a:solidFill>
            </a:endParaRPr>
          </a:p>
        </p:txBody>
      </p:sp>
      <p:pic>
        <p:nvPicPr>
          <p:cNvPr id="13" name="Picture 12"/>
          <p:cNvPicPr>
            <a:picLocks noChangeAspect="1"/>
          </p:cNvPicPr>
          <p:nvPr/>
        </p:nvPicPr>
        <p:blipFill>
          <a:blip r:embed="rId5"/>
          <a:stretch>
            <a:fillRect/>
          </a:stretch>
        </p:blipFill>
        <p:spPr>
          <a:xfrm>
            <a:off x="3065707" y="3984523"/>
            <a:ext cx="2783985" cy="2490123"/>
          </a:xfrm>
          <a:prstGeom prst="rect">
            <a:avLst/>
          </a:prstGeom>
        </p:spPr>
      </p:pic>
      <p:sp>
        <p:nvSpPr>
          <p:cNvPr id="14" name="Flowchart: Sequential Access Storage 13"/>
          <p:cNvSpPr/>
          <p:nvPr/>
        </p:nvSpPr>
        <p:spPr>
          <a:xfrm>
            <a:off x="399897" y="4572000"/>
            <a:ext cx="2542869" cy="1848234"/>
          </a:xfrm>
          <a:prstGeom prst="flowChartMagneticTap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a:spcBef>
                <a:spcPts val="600"/>
              </a:spcBef>
              <a:buClr>
                <a:srgbClr val="FE8637"/>
              </a:buClr>
              <a:buSzPct val="70000"/>
              <a:buFont typeface="Wingdings"/>
              <a:buChar char=""/>
              <a:defRPr/>
            </a:pPr>
            <a:endParaRPr lang="en-US" sz="1600" dirty="0">
              <a:solidFill>
                <a:sysClr val="windowText" lastClr="000000"/>
              </a:solidFill>
            </a:endParaRPr>
          </a:p>
          <a:p>
            <a:pPr marL="274320" indent="-274320">
              <a:spcBef>
                <a:spcPts val="600"/>
              </a:spcBef>
              <a:buClr>
                <a:srgbClr val="FE8637"/>
              </a:buClr>
              <a:buSzPct val="70000"/>
              <a:buFont typeface="Wingdings"/>
              <a:buChar char=""/>
              <a:defRPr/>
            </a:pPr>
            <a:r>
              <a:rPr lang="en-US" sz="1500" dirty="0">
                <a:solidFill>
                  <a:sysClr val="windowText" lastClr="000000"/>
                </a:solidFill>
              </a:rPr>
              <a:t>The arrow represents the traveling direction.</a:t>
            </a:r>
          </a:p>
          <a:p>
            <a:pPr marL="274320" lvl="0" indent="-274320">
              <a:spcBef>
                <a:spcPts val="600"/>
              </a:spcBef>
              <a:buClr>
                <a:srgbClr val="FE8637"/>
              </a:buClr>
              <a:buSzPct val="70000"/>
              <a:buFont typeface="Wingdings"/>
              <a:buChar char=""/>
              <a:defRPr/>
            </a:pPr>
            <a:endParaRPr lang="en-IN" dirty="0">
              <a:solidFill>
                <a:schemeClr val="tx1"/>
              </a:solidFill>
            </a:endParaRPr>
          </a:p>
        </p:txBody>
      </p:sp>
    </p:spTree>
    <p:extLst>
      <p:ext uri="{BB962C8B-B14F-4D97-AF65-F5344CB8AC3E}">
        <p14:creationId xmlns:p14="http://schemas.microsoft.com/office/powerpoint/2010/main" val="3849898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B93F0882-E32C-4905-BB54-54E76CF3AF7B}"/>
              </a:ext>
            </a:extLst>
          </p:cNvPr>
          <p:cNvSpPr/>
          <p:nvPr/>
        </p:nvSpPr>
        <p:spPr>
          <a:xfrm>
            <a:off x="533400" y="1524000"/>
            <a:ext cx="4648200" cy="4129147"/>
          </a:xfrm>
          <a:prstGeom prst="roundRect">
            <a:avLst>
              <a:gd name="adj" fmla="val 7556"/>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EB7810E0-D22B-4B5B-86B8-0B762D1043B8}"/>
              </a:ext>
            </a:extLst>
          </p:cNvPr>
          <p:cNvSpPr/>
          <p:nvPr/>
        </p:nvSpPr>
        <p:spPr>
          <a:xfrm>
            <a:off x="6974840" y="1524000"/>
            <a:ext cx="4648200" cy="4129147"/>
          </a:xfrm>
          <a:prstGeom prst="roundRect">
            <a:avLst>
              <a:gd name="adj" fmla="val 7556"/>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B097556-2D9C-40E3-896A-0027544B1BCF}"/>
              </a:ext>
            </a:extLst>
          </p:cNvPr>
          <p:cNvSpPr txBox="1"/>
          <p:nvPr/>
        </p:nvSpPr>
        <p:spPr>
          <a:xfrm>
            <a:off x="762000" y="1339334"/>
            <a:ext cx="1343638" cy="369332"/>
          </a:xfrm>
          <a:prstGeom prst="rect">
            <a:avLst/>
          </a:prstGeom>
          <a:solidFill>
            <a:schemeClr val="bg1"/>
          </a:solidFill>
        </p:spPr>
        <p:txBody>
          <a:bodyPr wrap="none" rtlCol="0">
            <a:spAutoFit/>
          </a:bodyPr>
          <a:lstStyle/>
          <a:p>
            <a:r>
              <a:rPr lang="en-US" b="1" dirty="0"/>
              <a:t>Capgemini</a:t>
            </a:r>
          </a:p>
        </p:txBody>
      </p:sp>
      <p:sp>
        <p:nvSpPr>
          <p:cNvPr id="5" name="TextBox 4">
            <a:extLst>
              <a:ext uri="{FF2B5EF4-FFF2-40B4-BE49-F238E27FC236}">
                <a16:creationId xmlns:a16="http://schemas.microsoft.com/office/drawing/2014/main" id="{36D96998-9368-4AD2-A431-0C9C91C683EB}"/>
              </a:ext>
            </a:extLst>
          </p:cNvPr>
          <p:cNvSpPr txBox="1"/>
          <p:nvPr/>
        </p:nvSpPr>
        <p:spPr>
          <a:xfrm>
            <a:off x="7239000" y="1339334"/>
            <a:ext cx="1255472" cy="369332"/>
          </a:xfrm>
          <a:prstGeom prst="rect">
            <a:avLst/>
          </a:prstGeom>
          <a:solidFill>
            <a:schemeClr val="bg1"/>
          </a:solidFill>
        </p:spPr>
        <p:txBody>
          <a:bodyPr wrap="none" rtlCol="0">
            <a:spAutoFit/>
          </a:bodyPr>
          <a:lstStyle/>
          <a:p>
            <a:r>
              <a:rPr lang="en-US" b="1" dirty="0"/>
              <a:t>Customer</a:t>
            </a:r>
          </a:p>
        </p:txBody>
      </p:sp>
      <p:pic>
        <p:nvPicPr>
          <p:cNvPr id="6" name="Picture 5">
            <a:extLst>
              <a:ext uri="{FF2B5EF4-FFF2-40B4-BE49-F238E27FC236}">
                <a16:creationId xmlns:a16="http://schemas.microsoft.com/office/drawing/2014/main" id="{65393946-A8A7-4096-BB91-E10E4DDBCE3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578063" y="1683266"/>
            <a:ext cx="540083" cy="897800"/>
          </a:xfrm>
          <a:prstGeom prst="rect">
            <a:avLst/>
          </a:prstGeom>
        </p:spPr>
      </p:pic>
      <p:pic>
        <p:nvPicPr>
          <p:cNvPr id="7" name="Picture 6" descr="A close up of a logo&#10;&#10;Description automatically generated">
            <a:extLst>
              <a:ext uri="{FF2B5EF4-FFF2-40B4-BE49-F238E27FC236}">
                <a16:creationId xmlns:a16="http://schemas.microsoft.com/office/drawing/2014/main" id="{522A729C-4857-459E-A927-141E568824C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9345715" y="1708666"/>
            <a:ext cx="689797" cy="899735"/>
          </a:xfrm>
          <a:prstGeom prst="rect">
            <a:avLst/>
          </a:prstGeom>
        </p:spPr>
      </p:pic>
      <p:cxnSp>
        <p:nvCxnSpPr>
          <p:cNvPr id="8" name="Straight Arrow Connector 7">
            <a:extLst>
              <a:ext uri="{FF2B5EF4-FFF2-40B4-BE49-F238E27FC236}">
                <a16:creationId xmlns:a16="http://schemas.microsoft.com/office/drawing/2014/main" id="{9AE7B964-CDDB-4471-9957-FA86A1CAF97C}"/>
              </a:ext>
            </a:extLst>
          </p:cNvPr>
          <p:cNvCxnSpPr>
            <a:stCxn id="7" idx="1"/>
            <a:endCxn id="6" idx="3"/>
          </p:cNvCxnSpPr>
          <p:nvPr/>
        </p:nvCxnSpPr>
        <p:spPr>
          <a:xfrm flipH="1" flipV="1">
            <a:off x="3118146" y="2132166"/>
            <a:ext cx="6227569" cy="26368"/>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582A530-1F8C-4A8E-8E08-7E4966553DDA}"/>
              </a:ext>
            </a:extLst>
          </p:cNvPr>
          <p:cNvSpPr txBox="1"/>
          <p:nvPr/>
        </p:nvSpPr>
        <p:spPr>
          <a:xfrm>
            <a:off x="1500101" y="2607434"/>
            <a:ext cx="2983509" cy="369332"/>
          </a:xfrm>
          <a:prstGeom prst="rect">
            <a:avLst/>
          </a:prstGeom>
          <a:noFill/>
        </p:spPr>
        <p:txBody>
          <a:bodyPr wrap="none" rtlCol="0">
            <a:spAutoFit/>
          </a:bodyPr>
          <a:lstStyle/>
          <a:p>
            <a:r>
              <a:rPr lang="en-US" b="1" dirty="0"/>
              <a:t>Team Lead / Project Lead</a:t>
            </a:r>
          </a:p>
        </p:txBody>
      </p:sp>
      <p:sp>
        <p:nvSpPr>
          <p:cNvPr id="10" name="TextBox 9">
            <a:extLst>
              <a:ext uri="{FF2B5EF4-FFF2-40B4-BE49-F238E27FC236}">
                <a16:creationId xmlns:a16="http://schemas.microsoft.com/office/drawing/2014/main" id="{976EE570-5508-46CD-8419-18EBFFD2DCB4}"/>
              </a:ext>
            </a:extLst>
          </p:cNvPr>
          <p:cNvSpPr txBox="1"/>
          <p:nvPr/>
        </p:nvSpPr>
        <p:spPr>
          <a:xfrm>
            <a:off x="4627880" y="2201574"/>
            <a:ext cx="3025187" cy="369332"/>
          </a:xfrm>
          <a:prstGeom prst="rect">
            <a:avLst/>
          </a:prstGeom>
          <a:noFill/>
          <a:ln>
            <a:noFill/>
          </a:ln>
        </p:spPr>
        <p:txBody>
          <a:bodyPr wrap="none" rtlCol="0">
            <a:spAutoFit/>
          </a:bodyPr>
          <a:lstStyle/>
          <a:p>
            <a:r>
              <a:rPr lang="en-US" dirty="0">
                <a:solidFill>
                  <a:srgbClr val="FF0000"/>
                </a:solidFill>
              </a:rPr>
              <a:t>Comprehensive work order</a:t>
            </a:r>
          </a:p>
        </p:txBody>
      </p:sp>
      <p:sp>
        <p:nvSpPr>
          <p:cNvPr id="11" name="TextBox 10">
            <a:extLst>
              <a:ext uri="{FF2B5EF4-FFF2-40B4-BE49-F238E27FC236}">
                <a16:creationId xmlns:a16="http://schemas.microsoft.com/office/drawing/2014/main" id="{7E507DB7-EC07-4260-9458-81A607EC39C4}"/>
              </a:ext>
            </a:extLst>
          </p:cNvPr>
          <p:cNvSpPr txBox="1"/>
          <p:nvPr/>
        </p:nvSpPr>
        <p:spPr>
          <a:xfrm>
            <a:off x="5781651" y="1598265"/>
            <a:ext cx="628698" cy="769441"/>
          </a:xfrm>
          <a:prstGeom prst="rect">
            <a:avLst/>
          </a:prstGeom>
          <a:noFill/>
        </p:spPr>
        <p:txBody>
          <a:bodyPr wrap="none" rtlCol="0">
            <a:spAutoFit/>
          </a:bodyPr>
          <a:lstStyle/>
          <a:p>
            <a:r>
              <a:rPr lang="en-US" sz="4400" dirty="0">
                <a:solidFill>
                  <a:srgbClr val="00B050"/>
                </a:solidFill>
                <a:latin typeface="Wingdings" panose="05000000000000000000" pitchFamily="2" charset="2"/>
                <a:sym typeface="Wingdings" panose="05000000000000000000" pitchFamily="2" charset="2"/>
              </a:rPr>
              <a:t></a:t>
            </a:r>
            <a:endParaRPr lang="en-US" sz="4400" dirty="0">
              <a:solidFill>
                <a:srgbClr val="00B050"/>
              </a:solidFill>
              <a:latin typeface="Wingdings" panose="05000000000000000000" pitchFamily="2" charset="2"/>
            </a:endParaRPr>
          </a:p>
        </p:txBody>
      </p:sp>
      <p:pic>
        <p:nvPicPr>
          <p:cNvPr id="12" name="Picture 11">
            <a:extLst>
              <a:ext uri="{FF2B5EF4-FFF2-40B4-BE49-F238E27FC236}">
                <a16:creationId xmlns:a16="http://schemas.microsoft.com/office/drawing/2014/main" id="{508A533B-E84E-458E-A36D-81914EEC0B0A}"/>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flipH="1">
            <a:off x="3267158" y="3730330"/>
            <a:ext cx="477565" cy="793874"/>
          </a:xfrm>
          <a:prstGeom prst="rect">
            <a:avLst/>
          </a:prstGeom>
        </p:spPr>
      </p:pic>
      <p:pic>
        <p:nvPicPr>
          <p:cNvPr id="13" name="Picture 12">
            <a:extLst>
              <a:ext uri="{FF2B5EF4-FFF2-40B4-BE49-F238E27FC236}">
                <a16:creationId xmlns:a16="http://schemas.microsoft.com/office/drawing/2014/main" id="{7893D6BC-C7EB-4A46-8EF7-9B188A78C34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flipH="1">
            <a:off x="2609321" y="4416420"/>
            <a:ext cx="477565" cy="793874"/>
          </a:xfrm>
          <a:prstGeom prst="rect">
            <a:avLst/>
          </a:prstGeom>
        </p:spPr>
      </p:pic>
      <p:pic>
        <p:nvPicPr>
          <p:cNvPr id="14" name="Picture 13">
            <a:extLst>
              <a:ext uri="{FF2B5EF4-FFF2-40B4-BE49-F238E27FC236}">
                <a16:creationId xmlns:a16="http://schemas.microsoft.com/office/drawing/2014/main" id="{A65EC5B3-7DCC-4609-8BBA-3A700886DBF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flipH="1">
            <a:off x="1950828" y="3730330"/>
            <a:ext cx="477565" cy="793874"/>
          </a:xfrm>
          <a:prstGeom prst="rect">
            <a:avLst/>
          </a:prstGeom>
        </p:spPr>
      </p:pic>
      <p:pic>
        <p:nvPicPr>
          <p:cNvPr id="15" name="Picture 14">
            <a:extLst>
              <a:ext uri="{FF2B5EF4-FFF2-40B4-BE49-F238E27FC236}">
                <a16:creationId xmlns:a16="http://schemas.microsoft.com/office/drawing/2014/main" id="{BD940FD6-183C-40E2-AE97-1B49A4783D0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flipH="1">
            <a:off x="2626315" y="3333393"/>
            <a:ext cx="477565" cy="793874"/>
          </a:xfrm>
          <a:prstGeom prst="rect">
            <a:avLst/>
          </a:prstGeom>
        </p:spPr>
      </p:pic>
      <p:sp>
        <p:nvSpPr>
          <p:cNvPr id="16" name="TextBox 15">
            <a:extLst>
              <a:ext uri="{FF2B5EF4-FFF2-40B4-BE49-F238E27FC236}">
                <a16:creationId xmlns:a16="http://schemas.microsoft.com/office/drawing/2014/main" id="{DB79762D-C49C-4B7F-AFAF-81BCF503AC7E}"/>
              </a:ext>
            </a:extLst>
          </p:cNvPr>
          <p:cNvSpPr txBox="1"/>
          <p:nvPr/>
        </p:nvSpPr>
        <p:spPr>
          <a:xfrm>
            <a:off x="1989114" y="5283815"/>
            <a:ext cx="1867819" cy="369332"/>
          </a:xfrm>
          <a:prstGeom prst="rect">
            <a:avLst/>
          </a:prstGeom>
          <a:noFill/>
        </p:spPr>
        <p:txBody>
          <a:bodyPr wrap="none" rtlCol="0">
            <a:spAutoFit/>
          </a:bodyPr>
          <a:lstStyle/>
          <a:p>
            <a:r>
              <a:rPr lang="en-US" b="1" dirty="0"/>
              <a:t>Team Members</a:t>
            </a:r>
          </a:p>
        </p:txBody>
      </p:sp>
      <p:sp>
        <p:nvSpPr>
          <p:cNvPr id="17" name="TextBox 16">
            <a:extLst>
              <a:ext uri="{FF2B5EF4-FFF2-40B4-BE49-F238E27FC236}">
                <a16:creationId xmlns:a16="http://schemas.microsoft.com/office/drawing/2014/main" id="{6A696B8B-AFA7-4D80-8470-DA30E0A42260}"/>
              </a:ext>
            </a:extLst>
          </p:cNvPr>
          <p:cNvSpPr txBox="1"/>
          <p:nvPr/>
        </p:nvSpPr>
        <p:spPr>
          <a:xfrm>
            <a:off x="5928664" y="2856753"/>
            <a:ext cx="1231528" cy="707886"/>
          </a:xfrm>
          <a:prstGeom prst="rect">
            <a:avLst/>
          </a:prstGeom>
          <a:noFill/>
        </p:spPr>
        <p:txBody>
          <a:bodyPr wrap="square" rtlCol="0">
            <a:spAutoFit/>
          </a:bodyPr>
          <a:lstStyle/>
          <a:p>
            <a:r>
              <a:rPr lang="en-US" altLang="ja-JP" sz="4000" b="1" dirty="0">
                <a:solidFill>
                  <a:srgbClr val="FF0000"/>
                </a:solidFill>
              </a:rPr>
              <a:t>×</a:t>
            </a:r>
            <a:endParaRPr lang="en-US" sz="4000" b="1" dirty="0">
              <a:solidFill>
                <a:srgbClr val="FF0000"/>
              </a:solidFill>
            </a:endParaRPr>
          </a:p>
        </p:txBody>
      </p:sp>
      <p:cxnSp>
        <p:nvCxnSpPr>
          <p:cNvPr id="18" name="Straight Arrow Connector 17">
            <a:extLst>
              <a:ext uri="{FF2B5EF4-FFF2-40B4-BE49-F238E27FC236}">
                <a16:creationId xmlns:a16="http://schemas.microsoft.com/office/drawing/2014/main" id="{C639EBC6-0D95-4033-9452-8D08C39B40E1}"/>
              </a:ext>
            </a:extLst>
          </p:cNvPr>
          <p:cNvCxnSpPr>
            <a:cxnSpLocks/>
            <a:stCxn id="7" idx="1"/>
            <a:endCxn id="12" idx="1"/>
          </p:cNvCxnSpPr>
          <p:nvPr/>
        </p:nvCxnSpPr>
        <p:spPr>
          <a:xfrm flipH="1">
            <a:off x="3744723" y="2158534"/>
            <a:ext cx="5600992" cy="19687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B7C62C2-11E7-446A-A5D3-23B6DF015F36}"/>
              </a:ext>
            </a:extLst>
          </p:cNvPr>
          <p:cNvSpPr txBox="1"/>
          <p:nvPr/>
        </p:nvSpPr>
        <p:spPr>
          <a:xfrm>
            <a:off x="8331525" y="2607434"/>
            <a:ext cx="2983509" cy="369332"/>
          </a:xfrm>
          <a:prstGeom prst="rect">
            <a:avLst/>
          </a:prstGeom>
          <a:noFill/>
        </p:spPr>
        <p:txBody>
          <a:bodyPr wrap="none" rtlCol="0">
            <a:spAutoFit/>
          </a:bodyPr>
          <a:lstStyle/>
          <a:p>
            <a:r>
              <a:rPr lang="en-US" b="1" dirty="0"/>
              <a:t>Team Lead / Project Lead</a:t>
            </a:r>
          </a:p>
        </p:txBody>
      </p:sp>
      <p:cxnSp>
        <p:nvCxnSpPr>
          <p:cNvPr id="20" name="Straight Arrow Connector 19">
            <a:extLst>
              <a:ext uri="{FF2B5EF4-FFF2-40B4-BE49-F238E27FC236}">
                <a16:creationId xmlns:a16="http://schemas.microsoft.com/office/drawing/2014/main" id="{D56372C7-5706-4C9E-B5B9-79FDD8F82A2B}"/>
              </a:ext>
            </a:extLst>
          </p:cNvPr>
          <p:cNvCxnSpPr>
            <a:cxnSpLocks/>
            <a:stCxn id="6" idx="2"/>
            <a:endCxn id="15" idx="0"/>
          </p:cNvCxnSpPr>
          <p:nvPr/>
        </p:nvCxnSpPr>
        <p:spPr>
          <a:xfrm>
            <a:off x="2848105" y="2581066"/>
            <a:ext cx="16992" cy="75232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A86E9E3-C09A-4AD0-9A36-2CA8B0354357}"/>
              </a:ext>
            </a:extLst>
          </p:cNvPr>
          <p:cNvSpPr txBox="1"/>
          <p:nvPr/>
        </p:nvSpPr>
        <p:spPr>
          <a:xfrm>
            <a:off x="2803706" y="2703534"/>
            <a:ext cx="628698" cy="769441"/>
          </a:xfrm>
          <a:prstGeom prst="rect">
            <a:avLst/>
          </a:prstGeom>
          <a:noFill/>
        </p:spPr>
        <p:txBody>
          <a:bodyPr wrap="none" rtlCol="0">
            <a:spAutoFit/>
          </a:bodyPr>
          <a:lstStyle/>
          <a:p>
            <a:r>
              <a:rPr lang="en-US" sz="4400" dirty="0">
                <a:solidFill>
                  <a:srgbClr val="00B050"/>
                </a:solidFill>
                <a:latin typeface="Wingdings" panose="05000000000000000000" pitchFamily="2" charset="2"/>
                <a:sym typeface="Wingdings" panose="05000000000000000000" pitchFamily="2" charset="2"/>
              </a:rPr>
              <a:t></a:t>
            </a:r>
            <a:endParaRPr lang="en-US" sz="4400" dirty="0">
              <a:solidFill>
                <a:srgbClr val="00B050"/>
              </a:solidFill>
              <a:latin typeface="Wingdings" panose="05000000000000000000" pitchFamily="2" charset="2"/>
            </a:endParaRPr>
          </a:p>
        </p:txBody>
      </p:sp>
      <p:pic>
        <p:nvPicPr>
          <p:cNvPr id="22" name="Picture 21" descr="A picture containing toy, doll, vector graphics&#10;&#10;Description automatically generated">
            <a:extLst>
              <a:ext uri="{FF2B5EF4-FFF2-40B4-BE49-F238E27FC236}">
                <a16:creationId xmlns:a16="http://schemas.microsoft.com/office/drawing/2014/main" id="{A3994196-F028-4757-BF98-924EB600B2A4}"/>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447489" y="3588402"/>
            <a:ext cx="2421090" cy="1893590"/>
          </a:xfrm>
          <a:prstGeom prst="rect">
            <a:avLst/>
          </a:prstGeom>
        </p:spPr>
      </p:pic>
      <p:sp>
        <p:nvSpPr>
          <p:cNvPr id="23" name="TextBox 22">
            <a:extLst>
              <a:ext uri="{FF2B5EF4-FFF2-40B4-BE49-F238E27FC236}">
                <a16:creationId xmlns:a16="http://schemas.microsoft.com/office/drawing/2014/main" id="{B001B697-CBB8-4609-A88B-66BA1B5B9CD4}"/>
              </a:ext>
            </a:extLst>
          </p:cNvPr>
          <p:cNvSpPr txBox="1"/>
          <p:nvPr/>
        </p:nvSpPr>
        <p:spPr>
          <a:xfrm>
            <a:off x="8756703" y="4435297"/>
            <a:ext cx="1867819" cy="369332"/>
          </a:xfrm>
          <a:prstGeom prst="rect">
            <a:avLst/>
          </a:prstGeom>
          <a:noFill/>
        </p:spPr>
        <p:txBody>
          <a:bodyPr wrap="none" rtlCol="0">
            <a:spAutoFit/>
          </a:bodyPr>
          <a:lstStyle/>
          <a:p>
            <a:r>
              <a:rPr lang="en-US" b="1" dirty="0"/>
              <a:t>Team Members</a:t>
            </a:r>
          </a:p>
        </p:txBody>
      </p:sp>
      <p:cxnSp>
        <p:nvCxnSpPr>
          <p:cNvPr id="24" name="Straight Arrow Connector 23">
            <a:extLst>
              <a:ext uri="{FF2B5EF4-FFF2-40B4-BE49-F238E27FC236}">
                <a16:creationId xmlns:a16="http://schemas.microsoft.com/office/drawing/2014/main" id="{0BF5F9B7-4058-438C-BC73-DAC7341323DF}"/>
              </a:ext>
            </a:extLst>
          </p:cNvPr>
          <p:cNvCxnSpPr>
            <a:stCxn id="22" idx="1"/>
            <a:endCxn id="13" idx="1"/>
          </p:cNvCxnSpPr>
          <p:nvPr/>
        </p:nvCxnSpPr>
        <p:spPr>
          <a:xfrm flipH="1">
            <a:off x="3086886" y="4535197"/>
            <a:ext cx="5360603" cy="27816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4C1EAE7-162E-47D5-ACCE-9F4413F7F118}"/>
              </a:ext>
            </a:extLst>
          </p:cNvPr>
          <p:cNvSpPr txBox="1"/>
          <p:nvPr/>
        </p:nvSpPr>
        <p:spPr>
          <a:xfrm>
            <a:off x="5928664" y="4266020"/>
            <a:ext cx="1231528" cy="707886"/>
          </a:xfrm>
          <a:prstGeom prst="rect">
            <a:avLst/>
          </a:prstGeom>
          <a:noFill/>
        </p:spPr>
        <p:txBody>
          <a:bodyPr wrap="square" rtlCol="0">
            <a:spAutoFit/>
          </a:bodyPr>
          <a:lstStyle/>
          <a:p>
            <a:r>
              <a:rPr lang="en-US" altLang="ja-JP" sz="4000" b="1" dirty="0">
                <a:solidFill>
                  <a:srgbClr val="FF0000"/>
                </a:solidFill>
              </a:rPr>
              <a:t>×</a:t>
            </a:r>
            <a:endParaRPr lang="en-US" sz="4000" b="1" dirty="0">
              <a:solidFill>
                <a:srgbClr val="FF0000"/>
              </a:solidFill>
            </a:endParaRPr>
          </a:p>
        </p:txBody>
      </p:sp>
      <p:sp>
        <p:nvSpPr>
          <p:cNvPr id="26" name="TextBox 25">
            <a:extLst>
              <a:ext uri="{FF2B5EF4-FFF2-40B4-BE49-F238E27FC236}">
                <a16:creationId xmlns:a16="http://schemas.microsoft.com/office/drawing/2014/main" id="{D1960C71-5599-4278-9917-CE37E174A64B}"/>
              </a:ext>
            </a:extLst>
          </p:cNvPr>
          <p:cNvSpPr txBox="1"/>
          <p:nvPr/>
        </p:nvSpPr>
        <p:spPr>
          <a:xfrm>
            <a:off x="533400" y="5776081"/>
            <a:ext cx="11089639" cy="369332"/>
          </a:xfrm>
          <a:prstGeom prst="rect">
            <a:avLst/>
          </a:prstGeom>
          <a:noFill/>
          <a:ln w="19050">
            <a:solidFill>
              <a:srgbClr val="FF0000"/>
            </a:solidFill>
            <a:prstDash val="lgDash"/>
          </a:ln>
        </p:spPr>
        <p:txBody>
          <a:bodyPr wrap="square" rtlCol="0">
            <a:spAutoFit/>
          </a:bodyPr>
          <a:lstStyle/>
          <a:p>
            <a:pPr algn="ctr"/>
            <a:r>
              <a:rPr lang="en-US" dirty="0"/>
              <a:t>Meeting and Q&amp;A is okay, but cannot make work order directly</a:t>
            </a:r>
          </a:p>
        </p:txBody>
      </p:sp>
      <p:sp>
        <p:nvSpPr>
          <p:cNvPr id="27" name="TextBox 26">
            <a:extLst>
              <a:ext uri="{FF2B5EF4-FFF2-40B4-BE49-F238E27FC236}">
                <a16:creationId xmlns:a16="http://schemas.microsoft.com/office/drawing/2014/main" id="{3A2FBBEA-D943-4BEE-AD65-A76752F86BD9}"/>
              </a:ext>
            </a:extLst>
          </p:cNvPr>
          <p:cNvSpPr txBox="1"/>
          <p:nvPr/>
        </p:nvSpPr>
        <p:spPr>
          <a:xfrm>
            <a:off x="5310940" y="3633128"/>
            <a:ext cx="1659065" cy="646331"/>
          </a:xfrm>
          <a:prstGeom prst="rect">
            <a:avLst/>
          </a:prstGeom>
          <a:noFill/>
          <a:ln>
            <a:noFill/>
          </a:ln>
        </p:spPr>
        <p:txBody>
          <a:bodyPr wrap="square" rtlCol="0">
            <a:spAutoFit/>
          </a:bodyPr>
          <a:lstStyle/>
          <a:p>
            <a:pPr algn="ctr"/>
            <a:r>
              <a:rPr lang="en-US" dirty="0">
                <a:solidFill>
                  <a:srgbClr val="FF0000"/>
                </a:solidFill>
              </a:rPr>
              <a:t>Not direct work order</a:t>
            </a:r>
          </a:p>
        </p:txBody>
      </p:sp>
      <p:sp>
        <p:nvSpPr>
          <p:cNvPr id="28" name="Title 27">
            <a:extLst>
              <a:ext uri="{FF2B5EF4-FFF2-40B4-BE49-F238E27FC236}">
                <a16:creationId xmlns:a16="http://schemas.microsoft.com/office/drawing/2014/main" id="{9A8AC14E-51A1-4FDD-BCEA-1043D499F9A9}"/>
              </a:ext>
            </a:extLst>
          </p:cNvPr>
          <p:cNvSpPr>
            <a:spLocks noGrp="1"/>
          </p:cNvSpPr>
          <p:nvPr>
            <p:ph type="title"/>
          </p:nvPr>
        </p:nvSpPr>
        <p:spPr/>
        <p:txBody>
          <a:bodyPr/>
          <a:lstStyle/>
          <a:p>
            <a:r>
              <a:rPr lang="en-US" dirty="0"/>
              <a:t>Command And Order In Service Agreement</a:t>
            </a:r>
          </a:p>
        </p:txBody>
      </p:sp>
      <p:sp>
        <p:nvSpPr>
          <p:cNvPr id="30" name="スライド番号プレースホルダー 3">
            <a:extLst>
              <a:ext uri="{FF2B5EF4-FFF2-40B4-BE49-F238E27FC236}">
                <a16:creationId xmlns:a16="http://schemas.microsoft.com/office/drawing/2014/main" id="{3AF21F02-8FE1-EC46-F141-920A66DE62DF}"/>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3</a:t>
            </a:fld>
            <a:endParaRPr lang="ja-JP" altLang="en-US" dirty="0"/>
          </a:p>
        </p:txBody>
      </p:sp>
      <p:sp>
        <p:nvSpPr>
          <p:cNvPr id="31" name="フッター プレースホルダー 2">
            <a:extLst>
              <a:ext uri="{FF2B5EF4-FFF2-40B4-BE49-F238E27FC236}">
                <a16:creationId xmlns:a16="http://schemas.microsoft.com/office/drawing/2014/main" id="{63C9E388-7929-935C-AD85-64BFB48B2472}"/>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4080849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p:txBody>
          <a:bodyPr/>
          <a:lstStyle/>
          <a:p>
            <a:r>
              <a:rPr lang="en-US" dirty="0"/>
              <a:t>Useful Links</a:t>
            </a:r>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0" lang="ja-JP" altLang="en-US" sz="1100" b="0" i="0" u="none" strike="noStrike" kern="1200" cap="none" spc="0" normalizeH="0" baseline="0" noProof="0" smtClean="0">
                <a:ln>
                  <a:noFill/>
                </a:ln>
                <a:solidFill>
                  <a:prstClr val="black"/>
                </a:solidFill>
                <a:effectLst/>
                <a:uLnTx/>
                <a:uFillTx/>
                <a:latin typeface="Arial" panose="020B0604020202020204"/>
                <a:ea typeface="ＭＳ Ｐゴシック"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Mitsubishi Chemical Group</a:t>
            </a:r>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2750105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seful Links (1/3)</a:t>
            </a:r>
          </a:p>
        </p:txBody>
      </p:sp>
      <p:sp>
        <p:nvSpPr>
          <p:cNvPr id="5" name="スライド番号プレースホルダー 3">
            <a:extLst>
              <a:ext uri="{FF2B5EF4-FFF2-40B4-BE49-F238E27FC236}">
                <a16:creationId xmlns:a16="http://schemas.microsoft.com/office/drawing/2014/main" id="{43862F42-D4CE-2A4D-A85E-A90188E51154}"/>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5</a:t>
            </a:fld>
            <a:endParaRPr lang="ja-JP" altLang="en-US" dirty="0"/>
          </a:p>
        </p:txBody>
      </p:sp>
      <p:sp>
        <p:nvSpPr>
          <p:cNvPr id="6" name="フッター プレースホルダー 2">
            <a:extLst>
              <a:ext uri="{FF2B5EF4-FFF2-40B4-BE49-F238E27FC236}">
                <a16:creationId xmlns:a16="http://schemas.microsoft.com/office/drawing/2014/main" id="{F8CD0127-42DB-F203-58FE-B86EAD60E98C}"/>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graphicFrame>
        <p:nvGraphicFramePr>
          <p:cNvPr id="4" name="Table 3"/>
          <p:cNvGraphicFramePr>
            <a:graphicFrameLocks noGrp="1"/>
          </p:cNvGraphicFramePr>
          <p:nvPr>
            <p:extLst>
              <p:ext uri="{D42A27DB-BD31-4B8C-83A1-F6EECF244321}">
                <p14:modId xmlns:p14="http://schemas.microsoft.com/office/powerpoint/2010/main" val="2441626405"/>
              </p:ext>
            </p:extLst>
          </p:nvPr>
        </p:nvGraphicFramePr>
        <p:xfrm>
          <a:off x="485775" y="990600"/>
          <a:ext cx="11220450" cy="5050557"/>
        </p:xfrm>
        <a:graphic>
          <a:graphicData uri="http://schemas.openxmlformats.org/drawingml/2006/table">
            <a:tbl>
              <a:tblPr firstRow="1" bandRow="1">
                <a:tableStyleId>{21E4AEA4-8DFA-4A89-87EB-49C32662AFE0}</a:tableStyleId>
              </a:tblPr>
              <a:tblGrid>
                <a:gridCol w="2997965">
                  <a:extLst>
                    <a:ext uri="{9D8B030D-6E8A-4147-A177-3AD203B41FA5}">
                      <a16:colId xmlns:a16="http://schemas.microsoft.com/office/drawing/2014/main" val="863106259"/>
                    </a:ext>
                  </a:extLst>
                </a:gridCol>
                <a:gridCol w="8222485">
                  <a:extLst>
                    <a:ext uri="{9D8B030D-6E8A-4147-A177-3AD203B41FA5}">
                      <a16:colId xmlns:a16="http://schemas.microsoft.com/office/drawing/2014/main" val="1788052037"/>
                    </a:ext>
                  </a:extLst>
                </a:gridCol>
              </a:tblGrid>
              <a:tr h="360000">
                <a:tc>
                  <a:txBody>
                    <a:bodyPr/>
                    <a:lstStyle/>
                    <a:p>
                      <a:r>
                        <a:rPr lang="en-IN" dirty="0"/>
                        <a:t>Topic</a:t>
                      </a:r>
                    </a:p>
                  </a:txBody>
                  <a:tcPr anchor="ctr"/>
                </a:tc>
                <a:tc>
                  <a:txBody>
                    <a:bodyPr/>
                    <a:lstStyle/>
                    <a:p>
                      <a:r>
                        <a:rPr lang="en-IN" dirty="0"/>
                        <a:t>Link</a:t>
                      </a:r>
                    </a:p>
                  </a:txBody>
                  <a:tcPr anchor="ctr"/>
                </a:tc>
                <a:extLst>
                  <a:ext uri="{0D108BD9-81ED-4DB2-BD59-A6C34878D82A}">
                    <a16:rowId xmlns:a16="http://schemas.microsoft.com/office/drawing/2014/main" val="420997134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SOW – Template Build &amp; Pilot  Phases </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20230629_Phase 1 Global Template Build Pilot Template Build and Phase 1Global Template Build Final.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1231125614"/>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Testing Strategy</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MCG Mone-G Test Strategy.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1729658050"/>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Data Migration Strategy</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it-IT" sz="1200"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MoneG_FS22_Data Migration Strategy.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42720090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Client &amp; Transport Strategy</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MoneG_Client and Transport Strategy.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1108571780"/>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Security Strategy</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SAP Security Strategy v0.1.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894490518"/>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Development Strategy</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Mone-G_Development Strategy.pdf</a:t>
                      </a:r>
                      <a:endParaRPr kumimoji="1" lang="it-IT" sz="1200" kern="1200" dirty="0">
                        <a:solidFill>
                          <a:schemeClr val="dk1"/>
                        </a:solidFill>
                        <a:latin typeface="+mn-lt"/>
                        <a:ea typeface="+mn-ea"/>
                        <a:cs typeface="+mn-cs"/>
                      </a:endParaRPr>
                    </a:p>
                  </a:txBody>
                  <a:tcPr anchor="ctr"/>
                </a:tc>
                <a:extLst>
                  <a:ext uri="{0D108BD9-81ED-4DB2-BD59-A6C34878D82A}">
                    <a16:rowId xmlns:a16="http://schemas.microsoft.com/office/drawing/2014/main" val="1682351324"/>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Organization Structure</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9">
                            <a:extLst>
                              <a:ext uri="{A12FA001-AC4F-418D-AE19-62706E023703}">
                                <ahyp:hlinkClr xmlns:ahyp="http://schemas.microsoft.com/office/drawing/2018/hyperlinkcolor" val="tx"/>
                              </a:ext>
                            </a:extLst>
                          </a:hlinkClick>
                        </a:rPr>
                        <a:t>MCG_Value_Stream_Organisation Structure.pptx</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555491556"/>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Configuration</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rPr>
                        <a:t>Approach - </a:t>
                      </a:r>
                      <a:r>
                        <a:rPr kumimoji="1" lang="en-IN" sz="1200" kern="1200" dirty="0">
                          <a:solidFill>
                            <a:schemeClr val="dk1"/>
                          </a:solidFill>
                          <a:latin typeface="+mn-lt"/>
                          <a:ea typeface="+mn-ea"/>
                          <a:cs typeface="+mn-cs"/>
                          <a:hlinkClick r:id="rId10">
                            <a:extLst>
                              <a:ext uri="{A12FA001-AC4F-418D-AE19-62706E023703}">
                                <ahyp:hlinkClr xmlns:ahyp="http://schemas.microsoft.com/office/drawing/2018/hyperlinkcolor" val="tx"/>
                              </a:ext>
                            </a:extLst>
                          </a:hlinkClick>
                        </a:rPr>
                        <a:t>MoneG_Global template_Configuration Guideline.pdf</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rPr>
                        <a:t>List - </a:t>
                      </a:r>
                      <a:r>
                        <a:rPr kumimoji="1" lang="en-IN" sz="1200" kern="1200" dirty="0">
                          <a:solidFill>
                            <a:schemeClr val="dk1"/>
                          </a:solidFill>
                          <a:latin typeface="+mn-lt"/>
                          <a:ea typeface="+mn-ea"/>
                          <a:cs typeface="+mn-cs"/>
                          <a:hlinkClick r:id="rId11">
                            <a:extLst>
                              <a:ext uri="{A12FA001-AC4F-418D-AE19-62706E023703}">
                                <ahyp:hlinkClr xmlns:ahyp="http://schemas.microsoft.com/office/drawing/2018/hyperlinkcolor" val="tx"/>
                              </a:ext>
                            </a:extLst>
                          </a:hlinkClick>
                        </a:rPr>
                        <a:t>MoneG_Configuration Design List_1.0.xlsx</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45689787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BPML</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2" tooltip="https://capgemini.sharepoint.com/:x:/r/sites/mcc-mitshubishichemicalcorporation-07_interimproject_/shared%20documents/07_moneg%20delivery%20folder/02.%20assessment%20phase%20(oct%20-%20mar)/1_functional/3_fs26_bpml%20list/moneg_bpml.xlsx?d=w0eb7e4a0385845ebbf0d319d8f102fc5&amp;csf=1&amp;web=1&amp;e=hwpeem&amp;xsdata=mdv8mdf8fdq4mgiwyjmxzdi4mzq0yjkwzmezmdhkyjc5n2vlnde2fdc2ytjhztvhowywmdrmnmi5nwvknwqzm2q3n2m0zdyxfdb8mhw2mzgymzczntgxmdi1ndgzodd8vw5rbm93bnxwr1zoylhovfpxtjfjbwwwzvzobgnuwnbzmly4zxlkv0lqb2lnqzr3tgpbd01eqwlmq0prswpvavyybhvneklptenkqlrpstzjazkwyudweulpd2lwmvfpt2pfegzrpt18mxxmmk5vwvhsekx6rtvpbtfswlhscgjtzgzumvjatwxswfjtde9smuywv1hwa2jvnvrnrejoyw1zd1rgunjortfxu1hstlixvxhxbfjlykuxsfjyzfpnaze0uuhsb2ntvmhaqzuytwk5dfpytnpzv2rsy3k4ee5qzzrnve01turbnu9uuxl8yjqyywi2yzg0mda2nduyztbmytmwogrinzk3zwu0mtz8zjdkmde4ztc3ngm5ndcxmzljyzk1ymjiyjhlnzfkztk%3d&amp;sdata=yvfkbtmrcwpqwmr4nxvsze9hemjqt0xnzxpqogvpned5uetrrdv5qxpjcz0%3d&amp;ovuser=76a2ae5a-9f00-4f6b-95ed-5d33d77c4d61%2csathvika.nallaballe%40capgemini.com">
                            <a:extLst>
                              <a:ext uri="{A12FA001-AC4F-418D-AE19-62706E023703}">
                                <ahyp:hlinkClr xmlns:ahyp="http://schemas.microsoft.com/office/drawing/2018/hyperlinkcolor" val="tx"/>
                              </a:ext>
                            </a:extLst>
                          </a:hlinkClick>
                        </a:rPr>
                        <a:t>MoneG_BPML.xlsx</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035890420"/>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GAPs</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rPr>
                        <a:t>List – </a:t>
                      </a:r>
                      <a:r>
                        <a:rPr kumimoji="1" lang="en-IN" sz="1200" kern="1200" dirty="0">
                          <a:solidFill>
                            <a:schemeClr val="dk1"/>
                          </a:solidFill>
                          <a:latin typeface="+mn-lt"/>
                          <a:ea typeface="+mn-ea"/>
                          <a:cs typeface="+mn-cs"/>
                          <a:hlinkClick r:id="rId13">
                            <a:extLst>
                              <a:ext uri="{A12FA001-AC4F-418D-AE19-62706E023703}">
                                <ahyp:hlinkClr xmlns:ahyp="http://schemas.microsoft.com/office/drawing/2018/hyperlinkcolor" val="tx"/>
                              </a:ext>
                            </a:extLst>
                          </a:hlinkClick>
                        </a:rPr>
                        <a:t>MoneG Gap List.xlsx</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rPr>
                        <a:t>Presentations - </a:t>
                      </a:r>
                      <a:r>
                        <a:rPr kumimoji="1" lang="en-IN" sz="1200" kern="1200" dirty="0">
                          <a:solidFill>
                            <a:schemeClr val="dk1"/>
                          </a:solidFill>
                          <a:latin typeface="+mn-lt"/>
                          <a:ea typeface="+mn-ea"/>
                          <a:cs typeface="+mn-cs"/>
                          <a:hlinkClick r:id="rId14">
                            <a:extLst>
                              <a:ext uri="{A12FA001-AC4F-418D-AE19-62706E023703}">
                                <ahyp:hlinkClr xmlns:ahyp="http://schemas.microsoft.com/office/drawing/2018/hyperlinkcolor" val="tx"/>
                              </a:ext>
                            </a:extLst>
                          </a:hlinkClick>
                        </a:rPr>
                        <a:t>Gaps</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327750830"/>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RICEFWs</a:t>
                      </a:r>
                    </a:p>
                  </a:txBody>
                  <a:tcPr marL="72000" marR="6350" marT="6350" marB="0" anchor="ctr"/>
                </a:tc>
                <a:tc>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IN" sz="1200" kern="1200" dirty="0">
                          <a:solidFill>
                            <a:schemeClr val="dk1"/>
                          </a:solidFill>
                          <a:latin typeface="+mn-lt"/>
                          <a:ea typeface="+mn-ea"/>
                          <a:cs typeface="+mn-cs"/>
                        </a:rPr>
                        <a:t>List – </a:t>
                      </a:r>
                      <a:r>
                        <a:rPr lang="en-IN" sz="1200" kern="1200" dirty="0" err="1">
                          <a:solidFill>
                            <a:schemeClr val="dk1"/>
                          </a:solidFill>
                          <a:latin typeface="+mn-lt"/>
                          <a:ea typeface="+mn-ea"/>
                          <a:cs typeface="+mn-cs"/>
                          <a:hlinkClick r:id="rId15">
                            <a:extLst>
                              <a:ext uri="{A12FA001-AC4F-418D-AE19-62706E023703}">
                                <ahyp:hlinkClr xmlns:ahyp="http://schemas.microsoft.com/office/drawing/2018/hyperlinkcolor" val="tx"/>
                              </a:ext>
                            </a:extLst>
                          </a:hlinkClick>
                        </a:rPr>
                        <a:t>MoneG</a:t>
                      </a:r>
                      <a:r>
                        <a:rPr lang="en-IN" sz="1200" kern="1200" dirty="0">
                          <a:solidFill>
                            <a:schemeClr val="dk1"/>
                          </a:solidFill>
                          <a:latin typeface="+mn-lt"/>
                          <a:ea typeface="+mn-ea"/>
                          <a:cs typeface="+mn-cs"/>
                          <a:hlinkClick r:id="rId15">
                            <a:extLst>
                              <a:ext uri="{A12FA001-AC4F-418D-AE19-62706E023703}">
                                <ahyp:hlinkClr xmlns:ahyp="http://schemas.microsoft.com/office/drawing/2018/hyperlinkcolor" val="tx"/>
                              </a:ext>
                            </a:extLst>
                          </a:hlinkClick>
                        </a:rPr>
                        <a:t> RICEFW List.xlsx</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rPr>
                        <a:t>Presentations - </a:t>
                      </a:r>
                      <a:r>
                        <a:rPr kumimoji="1" lang="en-IN" sz="1200" kern="1200" dirty="0">
                          <a:solidFill>
                            <a:schemeClr val="dk1"/>
                          </a:solidFill>
                          <a:latin typeface="+mn-lt"/>
                          <a:ea typeface="+mn-ea"/>
                          <a:cs typeface="+mn-cs"/>
                          <a:hlinkClick r:id="rId16">
                            <a:extLst>
                              <a:ext uri="{A12FA001-AC4F-418D-AE19-62706E023703}">
                                <ahyp:hlinkClr xmlns:ahyp="http://schemas.microsoft.com/office/drawing/2018/hyperlinkcolor" val="tx"/>
                              </a:ext>
                            </a:extLst>
                          </a:hlinkClick>
                        </a:rPr>
                        <a:t>RICEFWs</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84899711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FDDs</a:t>
                      </a: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7">
                            <a:extLst>
                              <a:ext uri="{A12FA001-AC4F-418D-AE19-62706E023703}">
                                <ahyp:hlinkClr xmlns:ahyp="http://schemas.microsoft.com/office/drawing/2018/hyperlinkcolor" val="tx"/>
                              </a:ext>
                            </a:extLst>
                          </a:hlinkClick>
                        </a:rPr>
                        <a:t>2_FS48_Functional Design Documents</a:t>
                      </a:r>
                      <a:endParaRPr kumimoji="1"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2788323380"/>
                  </a:ext>
                </a:extLst>
              </a:tr>
            </a:tbl>
          </a:graphicData>
        </a:graphic>
      </p:graphicFrame>
    </p:spTree>
    <p:extLst>
      <p:ext uri="{BB962C8B-B14F-4D97-AF65-F5344CB8AC3E}">
        <p14:creationId xmlns:p14="http://schemas.microsoft.com/office/powerpoint/2010/main" val="37883942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seful Links (2/3)</a:t>
            </a:r>
          </a:p>
        </p:txBody>
      </p:sp>
      <p:sp>
        <p:nvSpPr>
          <p:cNvPr id="5" name="スライド番号プレースホルダー 3">
            <a:extLst>
              <a:ext uri="{FF2B5EF4-FFF2-40B4-BE49-F238E27FC236}">
                <a16:creationId xmlns:a16="http://schemas.microsoft.com/office/drawing/2014/main" id="{6C179D70-8DB5-AE10-0AA7-546672FED614}"/>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6</a:t>
            </a:fld>
            <a:endParaRPr lang="ja-JP" altLang="en-US" dirty="0"/>
          </a:p>
        </p:txBody>
      </p:sp>
      <p:sp>
        <p:nvSpPr>
          <p:cNvPr id="6" name="フッター プレースホルダー 2">
            <a:extLst>
              <a:ext uri="{FF2B5EF4-FFF2-40B4-BE49-F238E27FC236}">
                <a16:creationId xmlns:a16="http://schemas.microsoft.com/office/drawing/2014/main" id="{220B07F7-6368-8BEA-881A-F3A6031E929E}"/>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graphicFrame>
        <p:nvGraphicFramePr>
          <p:cNvPr id="4" name="Table 3"/>
          <p:cNvGraphicFramePr>
            <a:graphicFrameLocks noGrp="1"/>
          </p:cNvGraphicFramePr>
          <p:nvPr>
            <p:extLst>
              <p:ext uri="{D42A27DB-BD31-4B8C-83A1-F6EECF244321}">
                <p14:modId xmlns:p14="http://schemas.microsoft.com/office/powerpoint/2010/main" val="3636601857"/>
              </p:ext>
            </p:extLst>
          </p:nvPr>
        </p:nvGraphicFramePr>
        <p:xfrm>
          <a:off x="485400" y="966113"/>
          <a:ext cx="11221200" cy="5434687"/>
        </p:xfrm>
        <a:graphic>
          <a:graphicData uri="http://schemas.openxmlformats.org/drawingml/2006/table">
            <a:tbl>
              <a:tblPr firstRow="1" bandRow="1">
                <a:tableStyleId>{21E4AEA4-8DFA-4A89-87EB-49C32662AFE0}</a:tableStyleId>
              </a:tblPr>
              <a:tblGrid>
                <a:gridCol w="2972236">
                  <a:extLst>
                    <a:ext uri="{9D8B030D-6E8A-4147-A177-3AD203B41FA5}">
                      <a16:colId xmlns:a16="http://schemas.microsoft.com/office/drawing/2014/main" val="863106259"/>
                    </a:ext>
                  </a:extLst>
                </a:gridCol>
                <a:gridCol w="8248964">
                  <a:extLst>
                    <a:ext uri="{9D8B030D-6E8A-4147-A177-3AD203B41FA5}">
                      <a16:colId xmlns:a16="http://schemas.microsoft.com/office/drawing/2014/main" val="1788052037"/>
                    </a:ext>
                  </a:extLst>
                </a:gridCol>
              </a:tblGrid>
              <a:tr h="360000">
                <a:tc>
                  <a:txBody>
                    <a:bodyPr/>
                    <a:lstStyle/>
                    <a:p>
                      <a:r>
                        <a:rPr lang="en-IN" dirty="0"/>
                        <a:t>Topic</a:t>
                      </a:r>
                    </a:p>
                  </a:txBody>
                  <a:tcPr anchor="ctr"/>
                </a:tc>
                <a:tc>
                  <a:txBody>
                    <a:bodyPr/>
                    <a:lstStyle/>
                    <a:p>
                      <a:r>
                        <a:rPr lang="en-IN" dirty="0"/>
                        <a:t>Link</a:t>
                      </a:r>
                    </a:p>
                  </a:txBody>
                  <a:tcPr anchor="ctr"/>
                </a:tc>
                <a:extLst>
                  <a:ext uri="{0D108BD9-81ED-4DB2-BD59-A6C34878D82A}">
                    <a16:rowId xmlns:a16="http://schemas.microsoft.com/office/drawing/2014/main" val="420997134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Asana</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noProof="0" dirty="0">
                          <a:solidFill>
                            <a:schemeClr val="dk1"/>
                          </a:solidFill>
                          <a:latin typeface="+mn-lt"/>
                          <a:ea typeface="+mn-ea"/>
                          <a:cs typeface="+mn-cs"/>
                          <a:hlinkClick r:id="rId2">
                            <a:extLst>
                              <a:ext uri="{A12FA001-AC4F-418D-AE19-62706E023703}">
                                <ahyp:hlinkClr xmlns:ahyp="http://schemas.microsoft.com/office/drawing/2018/hyperlinkcolor" val="tx"/>
                              </a:ext>
                            </a:extLst>
                          </a:hlinkClick>
                        </a:rPr>
                        <a:t>https://app.asana.com/-/login</a:t>
                      </a:r>
                      <a:endParaRPr kumimoji="1" lang="en-IN" sz="1200" kern="1200" noProof="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3" tooltip="https://capgemini.sharepoint.com/:p:/r/sites/MCC-MitshubishiChemicalCorporation-07_InterimProject_/Shared%20Documents/07_Interim%20Project_/01.%20Mobilisation%20Phase/4.%20Project%20Preparation/2.%20PMO/Asana%20Tool_Walkthrough.pptx?d=wccc3dda1e5e640f7bdbe266c05c787b1&amp;csf=1&amp;web=1&amp;e=xYnSSo">
                            <a:extLst>
                              <a:ext uri="{A12FA001-AC4F-418D-AE19-62706E023703}">
                                <ahyp:hlinkClr xmlns:ahyp="http://schemas.microsoft.com/office/drawing/2018/hyperlinkcolor" val="tx"/>
                              </a:ext>
                            </a:extLst>
                          </a:hlinkClick>
                        </a:rPr>
                        <a:t>Asana Tool_Walkthrough.pptx</a:t>
                      </a:r>
                      <a:endParaRPr kumimoji="1" lang="en-IN" sz="1200" kern="1200" noProof="0" dirty="0">
                        <a:solidFill>
                          <a:schemeClr val="dk1"/>
                        </a:solidFill>
                        <a:latin typeface="+mn-lt"/>
                        <a:ea typeface="+mn-ea"/>
                        <a:cs typeface="+mn-cs"/>
                      </a:endParaRPr>
                    </a:p>
                  </a:txBody>
                  <a:tcPr anchor="ctr"/>
                </a:tc>
                <a:extLst>
                  <a:ext uri="{0D108BD9-81ED-4DB2-BD59-A6C34878D82A}">
                    <a16:rowId xmlns:a16="http://schemas.microsoft.com/office/drawing/2014/main" val="2810751461"/>
                  </a:ext>
                </a:extLst>
              </a:tr>
              <a:tr h="360000">
                <a:tc>
                  <a:txBody>
                    <a:bodyPr/>
                    <a:lstStyle/>
                    <a:p>
                      <a:r>
                        <a:rPr lang="en-US" sz="1400" b="1" kern="1200" dirty="0">
                          <a:solidFill>
                            <a:schemeClr val="dk1"/>
                          </a:solidFill>
                          <a:latin typeface="+mn-lt"/>
                          <a:ea typeface="+mn-ea"/>
                          <a:cs typeface="+mn-cs"/>
                        </a:rPr>
                        <a:t>AppStream logon</a:t>
                      </a:r>
                      <a:endParaRPr lang="en-US" sz="1800" kern="1200" dirty="0">
                        <a:solidFill>
                          <a:schemeClr val="dk1"/>
                        </a:solidFill>
                        <a:effectLst/>
                        <a:latin typeface="+mn-lt"/>
                        <a:ea typeface="+mn-ea"/>
                        <a:cs typeface="+mn-cs"/>
                      </a:endParaRP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ID Federation (cloud-idf.com)</a:t>
                      </a:r>
                      <a:endParaRPr kumimoji="1"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2785076218"/>
                  </a:ext>
                </a:extLst>
              </a:tr>
              <a:tr h="360000">
                <a:tc>
                  <a:txBody>
                    <a:bodyPr/>
                    <a:lstStyle/>
                    <a:p>
                      <a:pPr algn="l" fontAlgn="b"/>
                      <a:r>
                        <a:rPr lang="en-IN" sz="1400" b="1" i="0" u="none" strike="noStrike" dirty="0">
                          <a:solidFill>
                            <a:srgbClr val="000000"/>
                          </a:solidFill>
                          <a:effectLst/>
                          <a:latin typeface="+mn-lt"/>
                        </a:rPr>
                        <a:t>Japanese</a:t>
                      </a:r>
                      <a:r>
                        <a:rPr lang="en-IN" sz="1400" b="1" i="0" u="none" strike="noStrike" baseline="0" dirty="0">
                          <a:solidFill>
                            <a:srgbClr val="000000"/>
                          </a:solidFill>
                          <a:effectLst/>
                          <a:latin typeface="+mn-lt"/>
                        </a:rPr>
                        <a:t> Culture</a:t>
                      </a:r>
                      <a:endParaRPr lang="en-IN" sz="1400" b="1" i="0" u="none" strike="noStrike" dirty="0">
                        <a:solidFill>
                          <a:srgbClr val="000000"/>
                        </a:solidFill>
                        <a:effectLst/>
                        <a:latin typeface="+mn-lt"/>
                      </a:endParaRP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5" tooltip="https://capgemini.sharepoint.com/:w:/r/sites/MCC-MitshubishiChemicalCorporation-07_InterimProject_/Shared%20Documents/07_Interim%20Project_/02.%20Assessment%20Phase%20(Oct%20-%20Jan)/0_PMO/1_Onboarding/Other%20Important%20Documents/Do%20and%20Don%27t%20-%20Japan.doc?d=w27749773da59431eb37db3e9f3e882f9&amp;csf=1&amp;web=1&amp;e=lONcYt">
                            <a:extLst>
                              <a:ext uri="{A12FA001-AC4F-418D-AE19-62706E023703}">
                                <ahyp:hlinkClr xmlns:ahyp="http://schemas.microsoft.com/office/drawing/2018/hyperlinkcolor" val="tx"/>
                              </a:ext>
                            </a:extLst>
                          </a:hlinkClick>
                        </a:rPr>
                        <a:t>Do and Don't - Japan.doc</a:t>
                      </a:r>
                      <a:endParaRPr kumimoji="1" lang="en-IN" sz="1200" kern="1200" dirty="0">
                        <a:solidFill>
                          <a:schemeClr val="dk1"/>
                        </a:solidFill>
                        <a:latin typeface="+mn-lt"/>
                        <a:ea typeface="+mn-ea"/>
                        <a:cs typeface="+mn-cs"/>
                      </a:endParaRP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kumimoji="1" lang="en-IN" sz="1200" kern="1200" dirty="0">
                          <a:solidFill>
                            <a:schemeClr val="dk1"/>
                          </a:solidFill>
                          <a:latin typeface="+mn-lt"/>
                          <a:ea typeface="+mn-ea"/>
                          <a:cs typeface="+mn-cs"/>
                          <a:hlinkClick r:id="rId6" tooltip="https://capgemini.sharepoint.com/:p:/r/sites/MCC-MitshubishiChemicalCorporation-07_InterimProject_/Shared%20Documents/07_Interim%20Project_/02.%20Assessment%20Phase%20(Oct%20-%20Jan)/0_PMO/1_Onboarding/Other%20Important%20Documents/Introduction%20to%20Japanese%20Business%20Culture_CGJ_V0.1.pptx?d=we53d152f9da7474aad35000cbd708795&amp;csf=1&amp;web=1&amp;e=cHAOhU">
                            <a:extLst>
                              <a:ext uri="{A12FA001-AC4F-418D-AE19-62706E023703}">
                                <ahyp:hlinkClr xmlns:ahyp="http://schemas.microsoft.com/office/drawing/2018/hyperlinkcolor" val="tx"/>
                              </a:ext>
                            </a:extLst>
                          </a:hlinkClick>
                        </a:rPr>
                        <a:t>Introduction to Japanese Business Culture_CGJ_V0.1.pptx</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MCG - Japan Culture-20221108_114831-Meeting Recording.mp4</a:t>
                      </a:r>
                      <a:endParaRPr kumimoji="1" lang="en-IN"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485874323"/>
                  </a:ext>
                </a:extLst>
              </a:tr>
              <a:tr h="360000">
                <a:tc>
                  <a:txBody>
                    <a:bodyPr/>
                    <a:lstStyle/>
                    <a:p>
                      <a:pPr marL="0" marR="0" lvl="0" indent="0" algn="l" rtl="0">
                        <a:lnSpc>
                          <a:spcPct val="100000"/>
                        </a:lnSpc>
                        <a:spcBef>
                          <a:spcPts val="0"/>
                        </a:spcBef>
                        <a:spcAft>
                          <a:spcPts val="0"/>
                        </a:spcAft>
                        <a:buClrTx/>
                        <a:buSzTx/>
                        <a:buFontTx/>
                        <a:buNone/>
                      </a:pPr>
                      <a:r>
                        <a:rPr lang="en-IN" sz="1400" b="1" i="0" u="none" strike="noStrike" kern="1200" cap="none" spc="0" normalizeH="0" baseline="0" noProof="0" dirty="0">
                          <a:ln>
                            <a:noFill/>
                          </a:ln>
                          <a:solidFill>
                            <a:srgbClr val="000000"/>
                          </a:solidFill>
                          <a:effectLst/>
                          <a:uLnTx/>
                          <a:uFillTx/>
                          <a:latin typeface="+mn-lt"/>
                          <a:ea typeface="+mn-ea"/>
                          <a:cs typeface="+mn-cs"/>
                        </a:rPr>
                        <a:t>Japanese Labor Laws</a:t>
                      </a:r>
                      <a:endParaRPr lang="en-US" dirty="0">
                        <a:latin typeface="+mn-lt"/>
                      </a:endParaRPr>
                    </a:p>
                  </a:txBody>
                  <a:tcPr marL="108000" marR="6350" marT="6350" marB="0"/>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Japanese Workers Dispatch Law_20220325_CGL3.pptx</a:t>
                      </a:r>
                      <a:endParaRPr kumimoji="1" lang="en-US"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9">
                            <a:extLst>
                              <a:ext uri="{A12FA001-AC4F-418D-AE19-62706E023703}">
                                <ahyp:hlinkClr xmlns:ahyp="http://schemas.microsoft.com/office/drawing/2018/hyperlinkcolor" val="tx"/>
                              </a:ext>
                            </a:extLst>
                          </a:hlinkClick>
                        </a:rPr>
                        <a:t>20211129_Compliance Checklist (Japan).docx</a:t>
                      </a:r>
                      <a:endParaRPr kumimoji="1" lang="en-IN" sz="12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2598418058"/>
                  </a:ext>
                </a:extLst>
              </a:tr>
              <a:tr h="360000">
                <a:tc>
                  <a:txBody>
                    <a:bodyPr/>
                    <a:lstStyle/>
                    <a:p>
                      <a:pPr lvl="0" algn="l">
                        <a:buNone/>
                      </a:pPr>
                      <a:r>
                        <a:rPr lang="en-IN" sz="1400" b="1" i="0" u="none" strike="noStrike" dirty="0">
                          <a:solidFill>
                            <a:srgbClr val="000000"/>
                          </a:solidFill>
                          <a:effectLst/>
                          <a:latin typeface="+mn-lt"/>
                        </a:rPr>
                        <a:t>Non - Disclosure Agreement</a:t>
                      </a:r>
                      <a:endParaRPr kumimoji="0" lang="en-US" dirty="0">
                        <a:latin typeface="+mn-lt"/>
                      </a:endParaRPr>
                    </a:p>
                  </a:txBody>
                  <a:tcPr marL="108000" marR="6350" marT="6350" marB="0"/>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0">
                            <a:extLst>
                              <a:ext uri="{A12FA001-AC4F-418D-AE19-62706E023703}">
                                <ahyp:hlinkClr xmlns:ahyp="http://schemas.microsoft.com/office/drawing/2018/hyperlinkcolor" val="tx"/>
                              </a:ext>
                            </a:extLst>
                          </a:hlinkClick>
                        </a:rPr>
                        <a:t>20220523_NDA_MCC PJ for global(EN).pdf</a:t>
                      </a:r>
                      <a:endParaRPr kumimoji="1" lang="en-IN" sz="1200" kern="1200" dirty="0">
                        <a:solidFill>
                          <a:schemeClr val="dk1"/>
                        </a:solidFill>
                        <a:latin typeface="+mn-lt"/>
                        <a:ea typeface="+mn-ea"/>
                        <a:cs typeface="+mn-cs"/>
                      </a:endParaRPr>
                    </a:p>
                  </a:txBody>
                  <a:tcPr/>
                </a:tc>
                <a:extLst>
                  <a:ext uri="{0D108BD9-81ED-4DB2-BD59-A6C34878D82A}">
                    <a16:rowId xmlns:a16="http://schemas.microsoft.com/office/drawing/2014/main" val="2072824105"/>
                  </a:ext>
                </a:extLst>
              </a:tr>
              <a:tr h="360000">
                <a:tc>
                  <a:txBody>
                    <a:bodyPr/>
                    <a:lstStyle/>
                    <a:p>
                      <a:pPr marL="0" marR="0" lvl="0" indent="0" algn="l" defTabSz="914126" rtl="0" eaLnBrk="1" fontAlgn="b"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mn-lt"/>
                          <a:ea typeface="+mn-ea"/>
                          <a:cs typeface="+mn-cs"/>
                        </a:rPr>
                        <a:t>Project Governance Handbook </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1">
                            <a:extLst>
                              <a:ext uri="{A12FA001-AC4F-418D-AE19-62706E023703}">
                                <ahyp:hlinkClr xmlns:ahyp="http://schemas.microsoft.com/office/drawing/2018/hyperlinkcolor" val="tx"/>
                              </a:ext>
                            </a:extLst>
                          </a:hlinkClick>
                        </a:rPr>
                        <a:t> MCG_Project Governance.pptx</a:t>
                      </a:r>
                      <a:endParaRPr kumimoji="1" lang="en-IN" sz="1200" kern="1200" noProof="0" dirty="0">
                        <a:solidFill>
                          <a:schemeClr val="dk1"/>
                        </a:solidFill>
                        <a:latin typeface="+mn-lt"/>
                        <a:ea typeface="+mn-ea"/>
                        <a:cs typeface="+mn-cs"/>
                      </a:endParaRPr>
                    </a:p>
                  </a:txBody>
                  <a:tcPr anchor="ctr"/>
                </a:tc>
                <a:extLst>
                  <a:ext uri="{0D108BD9-81ED-4DB2-BD59-A6C34878D82A}">
                    <a16:rowId xmlns:a16="http://schemas.microsoft.com/office/drawing/2014/main" val="147694467"/>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Pilot Proposal</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2" tooltip="https://capgemini.sharepoint.com/:b:/r/sites/mcc-mitshubishichemicalcorporation-07_interimproject_/shared%20documents/07_moneg%20delivery%20folder/03.%20global%20template%20development%20phase/0.%20pmo/99_pilot%20phase%20preparation/0623_mone-g%20%20mobilization,%20assessment%20%26%20design%20initial%20proposal_vf.pdf?csf=1&amp;web=1&amp;e=g5bv5r">
                            <a:extLst>
                              <a:ext uri="{A12FA001-AC4F-418D-AE19-62706E023703}">
                                <ahyp:hlinkClr xmlns:ahyp="http://schemas.microsoft.com/office/drawing/2018/hyperlinkcolor" val="tx"/>
                              </a:ext>
                            </a:extLst>
                          </a:hlinkClick>
                        </a:rPr>
                        <a:t>0623_Mone-G Mobilization, Assessment &amp; Design Initial Proposal_vF.pdf</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4084157265"/>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Teams Folders</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3">
                            <a:extLst>
                              <a:ext uri="{A12FA001-AC4F-418D-AE19-62706E023703}">
                                <ahyp:hlinkClr xmlns:ahyp="http://schemas.microsoft.com/office/drawing/2018/hyperlinkcolor" val="tx"/>
                              </a:ext>
                            </a:extLst>
                          </a:hlinkClick>
                        </a:rPr>
                        <a:t>02. Assessment Phase (Oct - Mar)</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4">
                            <a:extLst>
                              <a:ext uri="{A12FA001-AC4F-418D-AE19-62706E023703}">
                                <ahyp:hlinkClr xmlns:ahyp="http://schemas.microsoft.com/office/drawing/2018/hyperlinkcolor" val="tx"/>
                              </a:ext>
                            </a:extLst>
                          </a:hlinkClick>
                        </a:rPr>
                        <a:t>03. Global Template Development Phase</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212712164"/>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Availability</a:t>
                      </a:r>
                      <a:r>
                        <a:rPr lang="en-IN" sz="1400" b="1" kern="1200" baseline="0" dirty="0">
                          <a:solidFill>
                            <a:schemeClr val="dk1"/>
                          </a:solidFill>
                          <a:latin typeface="+mn-lt"/>
                          <a:ea typeface="+mn-ea"/>
                          <a:cs typeface="+mn-cs"/>
                        </a:rPr>
                        <a:t> Tracker- GT</a:t>
                      </a:r>
                      <a:endParaRPr lang="en-IN" sz="1400" b="1" kern="1200" dirty="0">
                        <a:solidFill>
                          <a:schemeClr val="dk1"/>
                        </a:solidFill>
                        <a:latin typeface="+mn-lt"/>
                        <a:ea typeface="+mn-ea"/>
                        <a:cs typeface="+mn-cs"/>
                      </a:endParaRPr>
                    </a:p>
                  </a:txBody>
                  <a:tcPr marL="108000" marR="6350" marT="6350" marB="0" anchor="ctr"/>
                </a:tc>
                <a:tc>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kumimoji="1" lang="en-IN" sz="1200" kern="1200" dirty="0">
                          <a:solidFill>
                            <a:schemeClr val="dk1"/>
                          </a:solidFill>
                          <a:latin typeface="+mn-lt"/>
                          <a:ea typeface="+mn-ea"/>
                          <a:cs typeface="+mn-cs"/>
                          <a:hlinkClick r:id="rId15">
                            <a:extLst>
                              <a:ext uri="{A12FA001-AC4F-418D-AE19-62706E023703}">
                                <ahyp:hlinkClr xmlns:ahyp="http://schemas.microsoft.com/office/drawing/2018/hyperlinkcolor" val="tx"/>
                              </a:ext>
                            </a:extLst>
                          </a:hlinkClick>
                        </a:rPr>
                        <a:t> MCG_Availability Tracker.xlsx</a:t>
                      </a:r>
                      <a:r>
                        <a:rPr lang="en-IN" sz="1200" kern="1200" dirty="0">
                          <a:solidFill>
                            <a:schemeClr val="dk1"/>
                          </a:solidFill>
                          <a:latin typeface="+mn-lt"/>
                          <a:ea typeface="+mn-ea"/>
                          <a:cs typeface="+mn-cs"/>
                        </a:rPr>
                        <a:t> </a:t>
                      </a:r>
                      <a:endParaRPr kumimoji="1"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113508474"/>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Facebook</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6">
                            <a:extLst>
                              <a:ext uri="{A12FA001-AC4F-418D-AE19-62706E023703}">
                                <ahyp:hlinkClr xmlns:ahyp="http://schemas.microsoft.com/office/drawing/2018/hyperlinkcolor" val="tx"/>
                              </a:ext>
                            </a:extLst>
                          </a:hlinkClick>
                        </a:rPr>
                        <a:t>Facebook - MCG.pptx</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574391883"/>
                  </a:ext>
                </a:extLst>
              </a:tr>
              <a:tr h="360000">
                <a:tc>
                  <a:txBody>
                    <a:bodyPr/>
                    <a:lstStyle/>
                    <a:p>
                      <a:pPr marL="0" algn="just" defTabSz="914126" rtl="0" eaLnBrk="1" fontAlgn="b" latinLnBrk="0" hangingPunct="1"/>
                      <a:r>
                        <a:rPr lang="en-IN" sz="1400" b="1" kern="1200" dirty="0">
                          <a:solidFill>
                            <a:schemeClr val="dk1"/>
                          </a:solidFill>
                          <a:latin typeface="+mn-lt"/>
                          <a:ea typeface="+mn-ea"/>
                          <a:cs typeface="+mn-cs"/>
                        </a:rPr>
                        <a:t>Talent Page (India)</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7">
                            <a:extLst>
                              <a:ext uri="{A12FA001-AC4F-418D-AE19-62706E023703}">
                                <ahyp:hlinkClr xmlns:ahyp="http://schemas.microsoft.com/office/drawing/2018/hyperlinkcolor" val="tx"/>
                              </a:ext>
                            </a:extLst>
                          </a:hlinkClick>
                        </a:rPr>
                        <a:t>https://talent.capgemini.com/in</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36593274"/>
                  </a:ext>
                </a:extLst>
              </a:tr>
              <a:tr h="360000">
                <a:tc>
                  <a:txBody>
                    <a:bodyPr/>
                    <a:lstStyle/>
                    <a:p>
                      <a:pPr algn="l" fontAlgn="b"/>
                      <a:r>
                        <a:rPr lang="en-IN" sz="1400" b="1" i="0" u="none" strike="noStrike" dirty="0">
                          <a:solidFill>
                            <a:srgbClr val="000000"/>
                          </a:solidFill>
                          <a:effectLst/>
                          <a:latin typeface="+mn-lt"/>
                        </a:rPr>
                        <a:t>Clarity - Japan</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8" tooltip="https://clarity.fs.capgemini.com/niku/nu#action:homeActionId">
                            <a:extLst>
                              <a:ext uri="{A12FA001-AC4F-418D-AE19-62706E023703}">
                                <ahyp:hlinkClr xmlns:ahyp="http://schemas.microsoft.com/office/drawing/2018/hyperlinkcolor" val="tx"/>
                              </a:ext>
                            </a:extLst>
                          </a:hlinkClick>
                        </a:rPr>
                        <a:t>https://clarity.fs.capgemini.com/niku/nu#action:homeActionId</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406991885"/>
                  </a:ext>
                </a:extLst>
              </a:tr>
              <a:tr h="360000">
                <a:tc>
                  <a:txBody>
                    <a:bodyPr/>
                    <a:lstStyle/>
                    <a:p>
                      <a:pPr marL="0" indent="0" algn="just" defTabSz="914126" rtl="0" eaLnBrk="1" fontAlgn="b" latinLnBrk="0" hangingPunct="1">
                        <a:buFont typeface="+mj-lt"/>
                        <a:buNone/>
                      </a:pPr>
                      <a:r>
                        <a:rPr lang="en-IN" sz="1400" b="1" kern="1200" dirty="0">
                          <a:solidFill>
                            <a:schemeClr val="dk1"/>
                          </a:solidFill>
                          <a:latin typeface="+mn-lt"/>
                          <a:ea typeface="+mn-ea"/>
                          <a:cs typeface="+mn-cs"/>
                        </a:rPr>
                        <a:t>Timecard Application - India</a:t>
                      </a:r>
                    </a:p>
                  </a:txBody>
                  <a:tcPr marL="108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19">
                            <a:extLst>
                              <a:ext uri="{A12FA001-AC4F-418D-AE19-62706E023703}">
                                <ahyp:hlinkClr xmlns:ahyp="http://schemas.microsoft.com/office/drawing/2018/hyperlinkcolor" val="tx"/>
                              </a:ext>
                            </a:extLst>
                          </a:hlinkClick>
                        </a:rPr>
                        <a:t>https://timecard.in.capgemini.com</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3012676587"/>
                  </a:ext>
                </a:extLst>
              </a:tr>
            </a:tbl>
          </a:graphicData>
        </a:graphic>
      </p:graphicFrame>
    </p:spTree>
    <p:extLst>
      <p:ext uri="{BB962C8B-B14F-4D97-AF65-F5344CB8AC3E}">
        <p14:creationId xmlns:p14="http://schemas.microsoft.com/office/powerpoint/2010/main" val="32878014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seful Links (3/3)</a:t>
            </a:r>
          </a:p>
        </p:txBody>
      </p:sp>
      <p:sp>
        <p:nvSpPr>
          <p:cNvPr id="5" name="スライド番号プレースホルダー 3">
            <a:extLst>
              <a:ext uri="{FF2B5EF4-FFF2-40B4-BE49-F238E27FC236}">
                <a16:creationId xmlns:a16="http://schemas.microsoft.com/office/drawing/2014/main" id="{6C179D70-8DB5-AE10-0AA7-546672FED614}"/>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7</a:t>
            </a:fld>
            <a:endParaRPr lang="ja-JP" altLang="en-US" dirty="0"/>
          </a:p>
        </p:txBody>
      </p:sp>
      <p:sp>
        <p:nvSpPr>
          <p:cNvPr id="6" name="フッター プレースホルダー 2">
            <a:extLst>
              <a:ext uri="{FF2B5EF4-FFF2-40B4-BE49-F238E27FC236}">
                <a16:creationId xmlns:a16="http://schemas.microsoft.com/office/drawing/2014/main" id="{220B07F7-6368-8BEA-881A-F3A6031E929E}"/>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graphicFrame>
        <p:nvGraphicFramePr>
          <p:cNvPr id="4" name="Table 3"/>
          <p:cNvGraphicFramePr>
            <a:graphicFrameLocks noGrp="1"/>
          </p:cNvGraphicFramePr>
          <p:nvPr>
            <p:extLst>
              <p:ext uri="{D42A27DB-BD31-4B8C-83A1-F6EECF244321}">
                <p14:modId xmlns:p14="http://schemas.microsoft.com/office/powerpoint/2010/main" val="4254483660"/>
              </p:ext>
            </p:extLst>
          </p:nvPr>
        </p:nvGraphicFramePr>
        <p:xfrm>
          <a:off x="485400" y="1066800"/>
          <a:ext cx="11221200" cy="3629026"/>
        </p:xfrm>
        <a:graphic>
          <a:graphicData uri="http://schemas.openxmlformats.org/drawingml/2006/table">
            <a:tbl>
              <a:tblPr firstRow="1" bandRow="1">
                <a:tableStyleId>{21E4AEA4-8DFA-4A89-87EB-49C32662AFE0}</a:tableStyleId>
              </a:tblPr>
              <a:tblGrid>
                <a:gridCol w="2972236">
                  <a:extLst>
                    <a:ext uri="{9D8B030D-6E8A-4147-A177-3AD203B41FA5}">
                      <a16:colId xmlns:a16="http://schemas.microsoft.com/office/drawing/2014/main" val="863106259"/>
                    </a:ext>
                  </a:extLst>
                </a:gridCol>
                <a:gridCol w="8248964">
                  <a:extLst>
                    <a:ext uri="{9D8B030D-6E8A-4147-A177-3AD203B41FA5}">
                      <a16:colId xmlns:a16="http://schemas.microsoft.com/office/drawing/2014/main" val="1788052037"/>
                    </a:ext>
                  </a:extLst>
                </a:gridCol>
              </a:tblGrid>
              <a:tr h="428626">
                <a:tc>
                  <a:txBody>
                    <a:bodyPr/>
                    <a:lstStyle/>
                    <a:p>
                      <a:r>
                        <a:rPr lang="en-IN" dirty="0"/>
                        <a:t>Topic</a:t>
                      </a:r>
                    </a:p>
                  </a:txBody>
                  <a:tcPr anchor="ctr"/>
                </a:tc>
                <a:tc>
                  <a:txBody>
                    <a:bodyPr/>
                    <a:lstStyle/>
                    <a:p>
                      <a:r>
                        <a:rPr lang="en-IN" dirty="0"/>
                        <a:t>Link</a:t>
                      </a:r>
                    </a:p>
                  </a:txBody>
                  <a:tcPr anchor="ctr"/>
                </a:tc>
                <a:extLst>
                  <a:ext uri="{0D108BD9-81ED-4DB2-BD59-A6C34878D82A}">
                    <a16:rowId xmlns:a16="http://schemas.microsoft.com/office/drawing/2014/main" val="4209971347"/>
                  </a:ext>
                </a:extLst>
              </a:tr>
              <a:tr h="367528">
                <a:tc>
                  <a:txBody>
                    <a:bodyPr/>
                    <a:lstStyle/>
                    <a:p>
                      <a:pPr algn="l" fontAlgn="b"/>
                      <a:r>
                        <a:rPr lang="en-IN" sz="1400" b="1" i="0" u="none" strike="noStrike" dirty="0">
                          <a:solidFill>
                            <a:srgbClr val="000000"/>
                          </a:solidFill>
                          <a:effectLst/>
                          <a:latin typeface="+mn-lt"/>
                        </a:rPr>
                        <a:t>Trainings</a:t>
                      </a:r>
                    </a:p>
                  </a:txBody>
                  <a:tcPr marL="635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kern="1200" baseline="0" dirty="0">
                          <a:solidFill>
                            <a:schemeClr val="dk1"/>
                          </a:solidFill>
                          <a:latin typeface="+mn-lt"/>
                          <a:ea typeface="+mn-ea"/>
                          <a:cs typeface="+mn-cs"/>
                        </a:rPr>
                        <a:t>Chemical Industry - </a:t>
                      </a:r>
                      <a:r>
                        <a:rPr kumimoji="1" lang="en-IN" sz="1200" kern="1200" dirty="0">
                          <a:solidFill>
                            <a:schemeClr val="dk1"/>
                          </a:solidFill>
                          <a:latin typeface="+mn-lt"/>
                          <a:ea typeface="+mn-ea"/>
                          <a:cs typeface="+mn-cs"/>
                          <a:hlinkClick r:id="rId2">
                            <a:extLst>
                              <a:ext uri="{A12FA001-AC4F-418D-AE19-62706E023703}">
                                <ahyp:hlinkClr xmlns:ahyp="http://schemas.microsoft.com/office/drawing/2018/hyperlinkcolor" val="tx"/>
                              </a:ext>
                            </a:extLst>
                          </a:hlinkClick>
                        </a:rPr>
                        <a:t>https://capgemini.sumtotal.host/core/pillarRedirect?relyingParty=LM&amp;url=app%2Fmanagement%2FLMS_ActDetails.aspx%3FActivityId%3D937324%26UserMode%3D0</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kern="1200" baseline="0" dirty="0">
                          <a:solidFill>
                            <a:schemeClr val="dk1"/>
                          </a:solidFill>
                          <a:latin typeface="+mn-lt"/>
                          <a:ea typeface="+mn-ea"/>
                          <a:cs typeface="+mn-cs"/>
                        </a:rPr>
                        <a:t>Data: </a:t>
                      </a:r>
                    </a:p>
                    <a:p>
                      <a:pPr marL="685806" marR="0" lvl="1"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Working Securely Everywhere - 3/5: Cybersecurity Essentials</a:t>
                      </a:r>
                      <a:endParaRPr kumimoji="1" lang="en-US" sz="1200" kern="1200" dirty="0">
                        <a:solidFill>
                          <a:schemeClr val="dk1"/>
                        </a:solidFill>
                        <a:latin typeface="+mn-lt"/>
                        <a:ea typeface="+mn-ea"/>
                        <a:cs typeface="+mn-cs"/>
                      </a:endParaRPr>
                    </a:p>
                    <a:p>
                      <a:pPr marL="685806" marR="0" lvl="1"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Understanding Privacy</a:t>
                      </a:r>
                      <a:endParaRPr kumimoji="1" lang="en-US" sz="1200" kern="1200" dirty="0">
                        <a:solidFill>
                          <a:schemeClr val="dk1"/>
                        </a:solidFill>
                        <a:latin typeface="+mn-lt"/>
                        <a:ea typeface="+mn-ea"/>
                        <a:cs typeface="+mn-cs"/>
                      </a:endParaRPr>
                    </a:p>
                    <a:p>
                      <a:pPr marL="685806" marR="0" lvl="1"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Data Classification And Security - 4/5: Cybersecurity Essentials</a:t>
                      </a:r>
                      <a:endParaRPr kumimoji="1" lang="en-US"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rPr>
                        <a:t>Presentation:</a:t>
                      </a:r>
                    </a:p>
                    <a:p>
                      <a:pPr marL="685806" marR="0" lvl="1"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err="1">
                          <a:solidFill>
                            <a:schemeClr val="dk1"/>
                          </a:solidFill>
                          <a:latin typeface="+mn-lt"/>
                          <a:ea typeface="+mn-ea"/>
                          <a:cs typeface="+mn-cs"/>
                          <a:hlinkClick r:id="rId4">
                            <a:extLst>
                              <a:ext uri="{A12FA001-AC4F-418D-AE19-62706E023703}">
                                <ahyp:hlinkClr xmlns:ahyp="http://schemas.microsoft.com/office/drawing/2018/hyperlinkcolor" val="tx"/>
                              </a:ext>
                            </a:extLst>
                          </a:hlinkClick>
                        </a:rPr>
                        <a:t>MoneG</a:t>
                      </a:r>
                      <a:r>
                        <a:rPr kumimoji="1" lang="en-IN" sz="1200"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 - Capability and Knowledge Share.pptx</a:t>
                      </a:r>
                      <a:endParaRPr kumimoji="1"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1991191629"/>
                  </a:ext>
                </a:extLst>
              </a:tr>
              <a:tr h="367528">
                <a:tc>
                  <a:txBody>
                    <a:bodyPr/>
                    <a:lstStyle/>
                    <a:p>
                      <a:pPr marL="0" algn="just" defTabSz="914126" rtl="0" eaLnBrk="1" fontAlgn="b" latinLnBrk="0" hangingPunct="1"/>
                      <a:r>
                        <a:rPr lang="en-IN" sz="1400" b="1" kern="1200">
                          <a:solidFill>
                            <a:schemeClr val="dk1"/>
                          </a:solidFill>
                          <a:latin typeface="+mn-lt"/>
                          <a:ea typeface="+mn-ea"/>
                          <a:cs typeface="+mn-cs"/>
                        </a:rPr>
                        <a:t>iCaptivate  </a:t>
                      </a:r>
                      <a:endParaRPr lang="en-IN" sz="1400" b="1" kern="1200" dirty="0">
                        <a:solidFill>
                          <a:schemeClr val="dk1"/>
                        </a:solidFill>
                        <a:latin typeface="+mn-lt"/>
                        <a:ea typeface="+mn-ea"/>
                        <a:cs typeface="+mn-cs"/>
                      </a:endParaRPr>
                    </a:p>
                  </a:txBody>
                  <a:tcPr marL="72000" marR="6350" marT="6350" marB="0" anchor="ctr"/>
                </a:tc>
                <a:tc>
                  <a:txBody>
                    <a:bodyPr/>
                    <a:lstStyle/>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MCG_iCaptivate Methodology.pptx</a:t>
                      </a:r>
                      <a:endParaRPr kumimoji="1" lang="en-IN"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https://km3.capgemini.com/book/1082915</a:t>
                      </a:r>
                      <a:endParaRPr kumimoji="1" lang="en-US"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kern="1200" dirty="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https://capgemini.sharepoint.com/sites/NAR_Site2/SAPMethodology/CAPtivate/default.aspx</a:t>
                      </a:r>
                      <a:endParaRPr kumimoji="1" lang="en-US" sz="1200" kern="1200" dirty="0">
                        <a:solidFill>
                          <a:schemeClr val="dk1"/>
                        </a:solidFill>
                        <a:latin typeface="+mn-lt"/>
                        <a:ea typeface="+mn-ea"/>
                        <a:cs typeface="+mn-cs"/>
                      </a:endParaRPr>
                    </a:p>
                    <a:p>
                      <a:pPr marL="228600" marR="0" lvl="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kern="1200" dirty="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https://capgemini.sumtotal.host/core/pillarRedirect?relyingParty=LM&amp;url=app%2Fmanagement%2FLMS_ActDetails.aspx%3FActivityId%3D787777%26UserMode%3D0</a:t>
                      </a:r>
                      <a:endParaRPr kumimoji="1" lang="en-IN" sz="1200" kern="1200" dirty="0">
                        <a:solidFill>
                          <a:schemeClr val="dk1"/>
                        </a:solidFill>
                        <a:latin typeface="+mn-lt"/>
                        <a:ea typeface="+mn-ea"/>
                        <a:cs typeface="+mn-cs"/>
                      </a:endParaRPr>
                    </a:p>
                  </a:txBody>
                  <a:tcPr anchor="ctr"/>
                </a:tc>
                <a:extLst>
                  <a:ext uri="{0D108BD9-81ED-4DB2-BD59-A6C34878D82A}">
                    <a16:rowId xmlns:a16="http://schemas.microsoft.com/office/drawing/2014/main" val="265006243"/>
                  </a:ext>
                </a:extLst>
              </a:tr>
              <a:tr h="228462">
                <a:tc>
                  <a:txBody>
                    <a:bodyPr/>
                    <a:lstStyle/>
                    <a:p>
                      <a:pPr marL="0" algn="just" defTabSz="914126" rtl="0" eaLnBrk="1" fontAlgn="b" latinLnBrk="0" hangingPunct="1"/>
                      <a:r>
                        <a:rPr lang="en-IN" sz="1400" b="1" kern="1200" dirty="0">
                          <a:solidFill>
                            <a:schemeClr val="dk1"/>
                          </a:solidFill>
                          <a:latin typeface="+mn-lt"/>
                          <a:ea typeface="+mn-ea"/>
                          <a:cs typeface="+mn-cs"/>
                        </a:rPr>
                        <a:t>E- GREAT</a:t>
                      </a:r>
                    </a:p>
                  </a:txBody>
                  <a:tcPr marL="72000" marR="6350" marT="6350" marB="0" anchor="ctr"/>
                </a:tc>
                <a:tc>
                  <a:txBody>
                    <a:bodyPr/>
                    <a:lstStyle/>
                    <a:p>
                      <a:pPr marL="228600" marR="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b="0" i="0" kern="1200" cap="none" dirty="0">
                          <a:solidFill>
                            <a:schemeClr val="dk1"/>
                          </a:solidFill>
                          <a:effectLst/>
                          <a:latin typeface="+mn-lt"/>
                          <a:ea typeface="+mn-ea"/>
                          <a:cs typeface="+mn-cs"/>
                          <a:hlinkClick r:id="rId9" tooltip="https://e-great.capgemini.com/estimates">
                            <a:extLst>
                              <a:ext uri="{A12FA001-AC4F-418D-AE19-62706E023703}">
                                <ahyp:hlinkClr xmlns:ahyp="http://schemas.microsoft.com/office/drawing/2018/hyperlinkcolor" val="tx"/>
                              </a:ext>
                            </a:extLst>
                          </a:hlinkClick>
                        </a:rPr>
                        <a:t>https://e-great.capgemini.com/estimates</a:t>
                      </a:r>
                      <a:endParaRPr kumimoji="1" lang="en-IN" sz="1200" b="0" i="0" kern="1200" cap="none" dirty="0">
                        <a:solidFill>
                          <a:schemeClr val="dk1"/>
                        </a:solidFill>
                        <a:effectLst/>
                        <a:latin typeface="+mn-lt"/>
                        <a:ea typeface="+mn-ea"/>
                        <a:cs typeface="+mn-cs"/>
                      </a:endParaRPr>
                    </a:p>
                    <a:p>
                      <a:pPr marL="228600" marR="0" indent="-2286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IN" sz="1200" b="0" i="0" kern="1200" cap="none" dirty="0">
                          <a:solidFill>
                            <a:schemeClr val="dk1"/>
                          </a:solidFill>
                          <a:effectLst/>
                          <a:latin typeface="+mn-lt"/>
                          <a:ea typeface="+mn-ea"/>
                          <a:cs typeface="+mn-cs"/>
                          <a:hlinkClick r:id="rId10" tooltip="https://capgemini.sharepoint.com/sites/e_great?xsdata=mdv8mdf8fgexzgyzotrjy2e0yjq0ytzimzzimdhkyjc5nje0zjjmfdc2ytjhztvhowywmdrmnmi5nwvknwqzm2q3n2m0zdyxfdb8mhw2mzgymzcymzewntaznze5ndd8vw5rbm93bnxwr1zoylhovfpxtjfjbwwwzvzobgnuwnbzmly4zxlkv0lqb2lnqzr3tgpbd01eqwlmq0prswpvavyybhvneklptenkqlrpstzjazkwyudweulpd2lwmvfpt2pfegzrpt18mxxmmk5vwvhsekx6rtvpalu0ttjsa01tvmpmvepstnpfde5evtnpuza1tvdoaexuy3hoele1wkdoau9eagtarjgywxpobu9eumhnqzfptw1fnexuumxnemn0t0dvek1dmwpzekl4wkrwbu9uvtjnalzbzfc1eextzgliqzv6y0dgalpytxziv1z6yzjgblpytxznvfk0t0rfeu5qtxdorekwtke9pxw4zwrmzdjhowrmztc0njrinteymda4zgi3otyxngyyzhxkn2exowe0nmrjmjy0njfhotmxmgm1mgu5ywfmzdg1yw%3d%3d&amp;sdata=tmq4cwjgn1dkejroawsvterrcc94au5ez04rznlis01bn1daznvlszm1dz0%3d&amp;ovuser=76a2ae5a-9f00-4f6b-95ed-5d33d77c4d61%2csathvika.nallaballe%40capgemini.com">
                            <a:extLst>
                              <a:ext uri="{A12FA001-AC4F-418D-AE19-62706E023703}">
                                <ahyp:hlinkClr xmlns:ahyp="http://schemas.microsoft.com/office/drawing/2018/hyperlinkcolor" val="tx"/>
                              </a:ext>
                            </a:extLst>
                          </a:hlinkClick>
                        </a:rPr>
                        <a:t>https://capgemini.sharepoint.com/sites/e_GREAT</a:t>
                      </a:r>
                      <a:r>
                        <a:rPr kumimoji="1" lang="en-IN" sz="1200" b="0" i="0" kern="1200" cap="none" dirty="0">
                          <a:solidFill>
                            <a:schemeClr val="dk1"/>
                          </a:solidFill>
                          <a:effectLst/>
                          <a:latin typeface="+mn-lt"/>
                          <a:ea typeface="+mn-ea"/>
                          <a:cs typeface="+mn-cs"/>
                        </a:rPr>
                        <a:t> </a:t>
                      </a:r>
                    </a:p>
                  </a:txBody>
                  <a:tcPr anchor="ctr"/>
                </a:tc>
                <a:extLst>
                  <a:ext uri="{0D108BD9-81ED-4DB2-BD59-A6C34878D82A}">
                    <a16:rowId xmlns:a16="http://schemas.microsoft.com/office/drawing/2014/main" val="4250671880"/>
                  </a:ext>
                </a:extLst>
              </a:tr>
            </a:tbl>
          </a:graphicData>
        </a:graphic>
      </p:graphicFrame>
    </p:spTree>
    <p:extLst>
      <p:ext uri="{BB962C8B-B14F-4D97-AF65-F5344CB8AC3E}">
        <p14:creationId xmlns:p14="http://schemas.microsoft.com/office/powerpoint/2010/main" val="12122093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760A60-EF5B-DA9E-3796-5172C80D96EB}"/>
              </a:ext>
            </a:extLst>
          </p:cNvPr>
          <p:cNvSpPr>
            <a:spLocks noGrp="1"/>
          </p:cNvSpPr>
          <p:nvPr>
            <p:ph type="body" sz="quarter" idx="11"/>
          </p:nvPr>
        </p:nvSpPr>
        <p:spPr>
          <a:xfrm>
            <a:off x="516000" y="4188146"/>
            <a:ext cx="11160000" cy="1159171"/>
          </a:xfrm>
        </p:spPr>
        <p:txBody>
          <a:bodyPr/>
          <a:lstStyle/>
          <a:p>
            <a:pPr marL="285750" indent="-285750">
              <a:buFont typeface="Arial" panose="020B0604020202020204" pitchFamily="34" charset="0"/>
              <a:buChar char="•"/>
            </a:pPr>
            <a:r>
              <a:rPr lang="en-US" sz="1800" dirty="0"/>
              <a:t>Timesheets</a:t>
            </a:r>
          </a:p>
          <a:p>
            <a:pPr marL="285750" indent="-285750">
              <a:buFont typeface="Arial" panose="020B0604020202020204" pitchFamily="34" charset="0"/>
              <a:buChar char="•"/>
            </a:pPr>
            <a:r>
              <a:rPr lang="en-US" sz="1800" dirty="0"/>
              <a:t>Availability</a:t>
            </a:r>
          </a:p>
          <a:p>
            <a:pPr marL="285750" indent="-285750">
              <a:buFont typeface="Arial" panose="020B0604020202020204" pitchFamily="34" charset="0"/>
              <a:buChar char="•"/>
            </a:pPr>
            <a:r>
              <a:rPr lang="en-US" sz="1800" dirty="0"/>
              <a:t>Non-Disclosure</a:t>
            </a:r>
            <a:endParaRPr lang="en-IN" dirty="0"/>
          </a:p>
        </p:txBody>
      </p:sp>
      <p:sp>
        <p:nvSpPr>
          <p:cNvPr id="3" name="Title 2">
            <a:extLst>
              <a:ext uri="{FF2B5EF4-FFF2-40B4-BE49-F238E27FC236}">
                <a16:creationId xmlns:a16="http://schemas.microsoft.com/office/drawing/2014/main" id="{94A91BA9-3930-9717-2F7D-38A3740D8FE8}"/>
              </a:ext>
            </a:extLst>
          </p:cNvPr>
          <p:cNvSpPr>
            <a:spLocks noGrp="1"/>
          </p:cNvSpPr>
          <p:nvPr>
            <p:ph type="title"/>
          </p:nvPr>
        </p:nvSpPr>
        <p:spPr>
          <a:xfrm>
            <a:off x="516000" y="3581399"/>
            <a:ext cx="11160000" cy="593413"/>
          </a:xfrm>
        </p:spPr>
        <p:txBody>
          <a:bodyPr/>
          <a:lstStyle/>
          <a:p>
            <a:r>
              <a:rPr lang="en-US" dirty="0"/>
              <a:t>Compliance</a:t>
            </a:r>
            <a:br>
              <a:rPr lang="en-US" dirty="0"/>
            </a:br>
            <a:endParaRPr lang="en-US" dirty="0"/>
          </a:p>
        </p:txBody>
      </p:sp>
      <p:sp>
        <p:nvSpPr>
          <p:cNvPr id="4" name="Slide Number Placeholder 3">
            <a:extLst>
              <a:ext uri="{FF2B5EF4-FFF2-40B4-BE49-F238E27FC236}">
                <a16:creationId xmlns:a16="http://schemas.microsoft.com/office/drawing/2014/main" id="{46B43357-B1EA-49DA-721B-00EA7B6AAE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0" lang="ja-JP" altLang="en-US" sz="1100" b="0" i="0" u="none" strike="noStrike" kern="1200" cap="none" spc="0" normalizeH="0" baseline="0" noProof="0" smtClean="0">
                <a:ln>
                  <a:noFill/>
                </a:ln>
                <a:solidFill>
                  <a:prstClr val="black"/>
                </a:solidFill>
                <a:effectLst/>
                <a:uLnTx/>
                <a:uFillTx/>
                <a:latin typeface="Arial" panose="020B0604020202020204"/>
                <a:ea typeface="ＭＳ Ｐゴシック"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
        <p:nvSpPr>
          <p:cNvPr id="5" name="Footer Placeholder 4">
            <a:extLst>
              <a:ext uri="{FF2B5EF4-FFF2-40B4-BE49-F238E27FC236}">
                <a16:creationId xmlns:a16="http://schemas.microsoft.com/office/drawing/2014/main" id="{15707412-26D1-DBEA-168A-F736470E66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Mitsubishi Chemical Group</a:t>
            </a:r>
            <a:endParaRPr kumimoji="0" lang="ja-JP" altLang="en-US"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42052173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ime Sheets – Japan Resources</a:t>
            </a:r>
          </a:p>
        </p:txBody>
      </p:sp>
      <p:sp>
        <p:nvSpPr>
          <p:cNvPr id="6" name="Text Placeholder 4">
            <a:extLst>
              <a:ext uri="{FF2B5EF4-FFF2-40B4-BE49-F238E27FC236}">
                <a16:creationId xmlns:a16="http://schemas.microsoft.com/office/drawing/2014/main" id="{E7AEDB1D-874D-448A-9E58-E15FE79478F3}"/>
              </a:ext>
            </a:extLst>
          </p:cNvPr>
          <p:cNvSpPr txBox="1">
            <a:spLocks/>
          </p:cNvSpPr>
          <p:nvPr/>
        </p:nvSpPr>
        <p:spPr>
          <a:xfrm>
            <a:off x="419099" y="914400"/>
            <a:ext cx="5687787" cy="381000"/>
          </a:xfrm>
          <a:prstGeom prst="rect">
            <a:avLst/>
          </a:prstGeom>
        </p:spPr>
        <p:txBody>
          <a:bodyPr lIns="0" tIns="0" rIns="0" bIns="0"/>
          <a:lstStyle>
            <a:lvl1pPr marL="0" indent="0" algn="l" defTabSz="914126" rtl="0" eaLnBrk="1" latinLnBrk="0" hangingPunct="1">
              <a:lnSpc>
                <a:spcPct val="90000"/>
              </a:lnSpc>
              <a:spcBef>
                <a:spcPts val="1000"/>
              </a:spcBef>
              <a:buFont typeface="Arial" panose="020B0604020202020204" pitchFamily="34" charset="0"/>
              <a:buNone/>
              <a:defRPr sz="1600" b="0" kern="1200">
                <a:solidFill>
                  <a:schemeClr val="accent2"/>
                </a:solidFill>
                <a:latin typeface="+mn-lt"/>
                <a:ea typeface="+mn-ea"/>
                <a:cs typeface="+mn-cs"/>
              </a:defRPr>
            </a:lvl1pPr>
            <a:lvl2pPr marL="266620" indent="-177746" algn="l" defTabSz="914126"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367" indent="-177746" algn="l" defTabSz="914126"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114" indent="-177746" algn="l" defTabSz="914126"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556" indent="-190443" algn="l" defTabSz="914126"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eriod"/>
            </a:pPr>
            <a:r>
              <a:rPr lang="en-US" sz="1200" dirty="0">
                <a:solidFill>
                  <a:schemeClr val="tx1"/>
                </a:solidFill>
              </a:rPr>
              <a:t>Enter Clarity (</a:t>
            </a:r>
            <a:r>
              <a:rPr lang="en-US" sz="1200" dirty="0">
                <a:solidFill>
                  <a:schemeClr val="tx1"/>
                </a:solidFill>
                <a:hlinkClick r:id="rId2">
                  <a:extLst>
                    <a:ext uri="{A12FA001-AC4F-418D-AE19-62706E023703}">
                      <ahyp:hlinkClr xmlns:ahyp="http://schemas.microsoft.com/office/drawing/2018/hyperlinkcolor" val="tx"/>
                    </a:ext>
                  </a:extLst>
                </a:hlinkClick>
              </a:rPr>
              <a:t>link</a:t>
            </a:r>
            <a:r>
              <a:rPr lang="en-US" sz="1200" dirty="0">
                <a:solidFill>
                  <a:schemeClr val="tx1"/>
                </a:solidFill>
              </a:rPr>
              <a:t>)</a:t>
            </a:r>
          </a:p>
          <a:p>
            <a:pPr marL="342900" indent="-342900">
              <a:buAutoNum type="arabicPeriod"/>
            </a:pPr>
            <a:r>
              <a:rPr lang="en-US" sz="1200" dirty="0">
                <a:solidFill>
                  <a:schemeClr val="tx1"/>
                </a:solidFill>
              </a:rPr>
              <a:t>Click on “Add Task”</a:t>
            </a: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r>
              <a:rPr lang="en-US" sz="1200" dirty="0">
                <a:solidFill>
                  <a:schemeClr val="tx1"/>
                </a:solidFill>
              </a:rPr>
              <a:t>Click on “Show All”</a:t>
            </a: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a:p>
            <a:pPr marL="342900" indent="-342900">
              <a:buAutoNum type="arabicPeriod"/>
            </a:pPr>
            <a:endParaRPr lang="en-US" sz="1200" dirty="0">
              <a:solidFill>
                <a:schemeClr val="tx1"/>
              </a:solidFill>
            </a:endParaRPr>
          </a:p>
        </p:txBody>
      </p:sp>
      <p:pic>
        <p:nvPicPr>
          <p:cNvPr id="7" name="Picture 6">
            <a:extLst>
              <a:ext uri="{FF2B5EF4-FFF2-40B4-BE49-F238E27FC236}">
                <a16:creationId xmlns:a16="http://schemas.microsoft.com/office/drawing/2014/main" id="{BCABC62A-FA28-4BEC-A747-EE0461A27C63}"/>
              </a:ext>
            </a:extLst>
          </p:cNvPr>
          <p:cNvPicPr>
            <a:picLocks noChangeAspect="1"/>
          </p:cNvPicPr>
          <p:nvPr/>
        </p:nvPicPr>
        <p:blipFill rotWithShape="1">
          <a:blip r:embed="rId3">
            <a:extLst>
              <a:ext uri="{28A0092B-C50C-407E-A947-70E740481C1C}">
                <a14:useLocalDpi xmlns:a14="http://schemas.microsoft.com/office/drawing/2010/main" val="0"/>
              </a:ext>
            </a:extLst>
          </a:blip>
          <a:srcRect r="67491"/>
          <a:stretch/>
        </p:blipFill>
        <p:spPr bwMode="auto">
          <a:xfrm>
            <a:off x="389274" y="1406165"/>
            <a:ext cx="3325587" cy="2228850"/>
          </a:xfrm>
          <a:prstGeom prst="rect">
            <a:avLst/>
          </a:prstGeom>
          <a:noFill/>
          <a:ln>
            <a:noFill/>
          </a:ln>
        </p:spPr>
      </p:pic>
      <p:pic>
        <p:nvPicPr>
          <p:cNvPr id="8" name="Picture 7">
            <a:extLst>
              <a:ext uri="{FF2B5EF4-FFF2-40B4-BE49-F238E27FC236}">
                <a16:creationId xmlns:a16="http://schemas.microsoft.com/office/drawing/2014/main" id="{DE40C891-86BD-4564-B750-F823B8598BED}"/>
              </a:ext>
            </a:extLst>
          </p:cNvPr>
          <p:cNvPicPr>
            <a:picLocks noChangeAspect="1"/>
          </p:cNvPicPr>
          <p:nvPr/>
        </p:nvPicPr>
        <p:blipFill rotWithShape="1">
          <a:blip r:embed="rId4">
            <a:extLst>
              <a:ext uri="{28A0092B-C50C-407E-A947-70E740481C1C}">
                <a14:useLocalDpi xmlns:a14="http://schemas.microsoft.com/office/drawing/2010/main" val="0"/>
              </a:ext>
            </a:extLst>
          </a:blip>
          <a:srcRect t="-1" r="43701" b="27359"/>
          <a:stretch/>
        </p:blipFill>
        <p:spPr bwMode="auto">
          <a:xfrm>
            <a:off x="408213" y="4032250"/>
            <a:ext cx="5687787" cy="2228850"/>
          </a:xfrm>
          <a:prstGeom prst="rect">
            <a:avLst/>
          </a:prstGeom>
          <a:noFill/>
          <a:ln>
            <a:noFill/>
          </a:ln>
        </p:spPr>
      </p:pic>
      <p:sp>
        <p:nvSpPr>
          <p:cNvPr id="9" name="Text Placeholder 4">
            <a:extLst>
              <a:ext uri="{FF2B5EF4-FFF2-40B4-BE49-F238E27FC236}">
                <a16:creationId xmlns:a16="http://schemas.microsoft.com/office/drawing/2014/main" id="{3C017F8F-F4E4-47EB-82D9-E26B6360DC6D}"/>
              </a:ext>
            </a:extLst>
          </p:cNvPr>
          <p:cNvSpPr txBox="1">
            <a:spLocks/>
          </p:cNvSpPr>
          <p:nvPr/>
        </p:nvSpPr>
        <p:spPr>
          <a:xfrm>
            <a:off x="6705601" y="1038838"/>
            <a:ext cx="5181600" cy="588399"/>
          </a:xfrm>
          <a:prstGeom prst="rect">
            <a:avLst/>
          </a:prstGeom>
        </p:spPr>
        <p:txBody>
          <a:bodyPr lIns="0" tIns="0" rIns="0" bIns="0"/>
          <a:lstStyle>
            <a:lvl1pPr marL="0" indent="0" algn="l" defTabSz="914126" rtl="0" eaLnBrk="1" latinLnBrk="0" hangingPunct="1">
              <a:lnSpc>
                <a:spcPct val="90000"/>
              </a:lnSpc>
              <a:spcBef>
                <a:spcPts val="1000"/>
              </a:spcBef>
              <a:buFont typeface="Arial" panose="020B0604020202020204" pitchFamily="34" charset="0"/>
              <a:buNone/>
              <a:defRPr sz="1600" b="0" kern="1200">
                <a:solidFill>
                  <a:schemeClr val="accent2"/>
                </a:solidFill>
                <a:latin typeface="+mn-lt"/>
                <a:ea typeface="+mn-ea"/>
                <a:cs typeface="+mn-cs"/>
              </a:defRPr>
            </a:lvl1pPr>
            <a:lvl2pPr marL="266620" indent="-177746" algn="l" defTabSz="914126"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367" indent="-177746" algn="l" defTabSz="914126"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114" indent="-177746" algn="l" defTabSz="914126"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556" indent="-190443" algn="l" defTabSz="914126"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startAt="4"/>
            </a:pPr>
            <a:r>
              <a:rPr lang="en-US" sz="1200" dirty="0">
                <a:solidFill>
                  <a:schemeClr val="tx1"/>
                </a:solidFill>
              </a:rPr>
              <a:t>Search for the investment “Assessment Phase”, select and click on Add</a:t>
            </a: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a:p>
            <a:pPr marL="342900" indent="-342900">
              <a:buFont typeface="+mj-lt"/>
              <a:buAutoNum type="arabicPeriod" startAt="4"/>
            </a:pPr>
            <a:endParaRPr lang="en-US" sz="1200" dirty="0">
              <a:solidFill>
                <a:schemeClr val="tx1"/>
              </a:solidFill>
            </a:endParaRPr>
          </a:p>
        </p:txBody>
      </p:sp>
      <p:pic>
        <p:nvPicPr>
          <p:cNvPr id="15" name="Picture 14">
            <a:extLst>
              <a:ext uri="{FF2B5EF4-FFF2-40B4-BE49-F238E27FC236}">
                <a16:creationId xmlns:a16="http://schemas.microsoft.com/office/drawing/2014/main" id="{26082482-B357-466D-84E6-35CDA4E2A13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694715" y="1409237"/>
            <a:ext cx="2152760" cy="4311872"/>
          </a:xfrm>
          <a:prstGeom prst="rect">
            <a:avLst/>
          </a:prstGeom>
        </p:spPr>
      </p:pic>
      <p:sp>
        <p:nvSpPr>
          <p:cNvPr id="5" name="スライド番号プレースホルダー 3">
            <a:extLst>
              <a:ext uri="{FF2B5EF4-FFF2-40B4-BE49-F238E27FC236}">
                <a16:creationId xmlns:a16="http://schemas.microsoft.com/office/drawing/2014/main" id="{C4FC0358-782D-45FE-584A-2A42A56F5EF4}"/>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39</a:t>
            </a:fld>
            <a:endParaRPr lang="ja-JP" altLang="en-US" dirty="0"/>
          </a:p>
        </p:txBody>
      </p:sp>
      <p:sp>
        <p:nvSpPr>
          <p:cNvPr id="10" name="フッター プレースホルダー 2">
            <a:extLst>
              <a:ext uri="{FF2B5EF4-FFF2-40B4-BE49-F238E27FC236}">
                <a16:creationId xmlns:a16="http://schemas.microsoft.com/office/drawing/2014/main" id="{B7BA9E67-0D4F-9D54-7937-55B8407F980D}"/>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3256975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BC85EC-177F-BF6C-AE20-787F644083BB}"/>
              </a:ext>
            </a:extLst>
          </p:cNvPr>
          <p:cNvSpPr>
            <a:spLocks noGrp="1"/>
          </p:cNvSpPr>
          <p:nvPr>
            <p:ph type="title"/>
          </p:nvPr>
        </p:nvSpPr>
        <p:spPr/>
        <p:txBody>
          <a:bodyPr/>
          <a:lstStyle/>
          <a:p>
            <a:r>
              <a:rPr lang="en-US" altLang="ja-JP" dirty="0"/>
              <a:t>What’s </a:t>
            </a:r>
            <a:r>
              <a:rPr lang="en-US" altLang="ja-JP" dirty="0" err="1"/>
              <a:t>Mone</a:t>
            </a:r>
            <a:r>
              <a:rPr lang="en-US" altLang="ja-JP" dirty="0"/>
              <a:t>-G?</a:t>
            </a:r>
            <a:endParaRPr kumimoji="1" lang="ja-JP" altLang="en-US" dirty="0"/>
          </a:p>
        </p:txBody>
      </p:sp>
      <p:sp>
        <p:nvSpPr>
          <p:cNvPr id="3" name="スライド番号プレースホルダー 2">
            <a:extLst>
              <a:ext uri="{FF2B5EF4-FFF2-40B4-BE49-F238E27FC236}">
                <a16:creationId xmlns:a16="http://schemas.microsoft.com/office/drawing/2014/main" id="{D4E47D6F-D0DE-1BBB-2F60-BC839E10A2B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0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1" lang="ja-JP" altLang="en-US" sz="11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4" name="テキスト プレースホルダー 3">
            <a:extLst>
              <a:ext uri="{FF2B5EF4-FFF2-40B4-BE49-F238E27FC236}">
                <a16:creationId xmlns:a16="http://schemas.microsoft.com/office/drawing/2014/main" id="{92FB036F-DCA8-F3DE-5798-640DDA80BE8F}"/>
              </a:ext>
            </a:extLst>
          </p:cNvPr>
          <p:cNvSpPr>
            <a:spLocks noGrp="1"/>
          </p:cNvSpPr>
          <p:nvPr>
            <p:ph type="body" sz="quarter" idx="11"/>
          </p:nvPr>
        </p:nvSpPr>
        <p:spPr/>
        <p:txBody>
          <a:bodyPr>
            <a:normAutofit/>
          </a:bodyPr>
          <a:lstStyle/>
          <a:p>
            <a:pPr marL="285750" indent="-285750">
              <a:buFont typeface="Wingdings" panose="05000000000000000000" pitchFamily="2" charset="2"/>
              <a:buChar char="ü"/>
            </a:pPr>
            <a:r>
              <a:rPr kumimoji="1" lang="en-US" altLang="ja-JP" dirty="0"/>
              <a:t>The project name “Mone-G” stands for “</a:t>
            </a:r>
            <a:r>
              <a:rPr lang="en-US" altLang="ja-JP" sz="2000" b="1" spc="100" dirty="0">
                <a:solidFill>
                  <a:schemeClr val="accent2"/>
                </a:solidFill>
                <a:effectLst>
                  <a:outerShdw blurRad="50800" dist="38100" algn="l" rotWithShape="0">
                    <a:schemeClr val="accent1">
                      <a:alpha val="40000"/>
                    </a:schemeClr>
                  </a:outerShdw>
                </a:effectLst>
              </a:rPr>
              <a:t>M</a:t>
            </a:r>
            <a:r>
              <a:rPr kumimoji="1" lang="en-US" altLang="ja-JP" spc="100" dirty="0"/>
              <a:t>itsubishi</a:t>
            </a:r>
            <a:r>
              <a:rPr kumimoji="1" lang="en-US" altLang="ja-JP" dirty="0"/>
              <a:t> chemical group </a:t>
            </a:r>
            <a:r>
              <a:rPr lang="en-US" altLang="ja-JP" sz="2000" b="1" spc="100" dirty="0">
                <a:solidFill>
                  <a:schemeClr val="accent2"/>
                </a:solidFill>
                <a:effectLst>
                  <a:outerShdw blurRad="50800" dist="38100" algn="l" rotWithShape="0">
                    <a:schemeClr val="accent1">
                      <a:alpha val="40000"/>
                    </a:schemeClr>
                  </a:outerShdw>
                </a:effectLst>
              </a:rPr>
              <a:t>ONE</a:t>
            </a:r>
            <a:r>
              <a:rPr kumimoji="1" lang="en-US" altLang="ja-JP" dirty="0"/>
              <a:t> ERP platform for </a:t>
            </a:r>
            <a:r>
              <a:rPr lang="en-US" altLang="ja-JP" sz="2000" b="1" spc="100" dirty="0">
                <a:solidFill>
                  <a:schemeClr val="accent2"/>
                </a:solidFill>
                <a:effectLst>
                  <a:outerShdw blurRad="50800" dist="38100" algn="l" rotWithShape="0">
                    <a:schemeClr val="accent1">
                      <a:alpha val="40000"/>
                    </a:schemeClr>
                  </a:outerShdw>
                </a:effectLst>
              </a:rPr>
              <a:t>G</a:t>
            </a:r>
            <a:r>
              <a:rPr kumimoji="1" lang="en-US" altLang="ja-JP" spc="100" dirty="0"/>
              <a:t>lobal</a:t>
            </a:r>
            <a:r>
              <a:rPr kumimoji="1" lang="en-US" altLang="ja-JP" dirty="0"/>
              <a:t> group companies”.</a:t>
            </a:r>
          </a:p>
          <a:p>
            <a:pPr marL="285750" indent="-285750">
              <a:buFont typeface="Wingdings" panose="05000000000000000000" pitchFamily="2" charset="2"/>
              <a:buChar char="ü"/>
            </a:pPr>
            <a:r>
              <a:rPr lang="en-GB" altLang="ja-JP" sz="1600" dirty="0"/>
              <a:t>Mone-G brings one common template; </a:t>
            </a:r>
            <a:r>
              <a:rPr kumimoji="1" lang="en-US" altLang="ja-JP" dirty="0"/>
              <a:t>standardized end-to-end process, ERP system, and </a:t>
            </a:r>
            <a:r>
              <a:rPr lang="en-US" altLang="ja-JP" dirty="0"/>
              <a:t>data.</a:t>
            </a:r>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lang="en-US" altLang="ja-JP" dirty="0"/>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lang="en-US" altLang="ja-JP" dirty="0"/>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lang="en-US" altLang="ja-JP" dirty="0"/>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lang="en-US" altLang="ja-JP" dirty="0"/>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lang="en-US" altLang="ja-JP" dirty="0"/>
          </a:p>
          <a:p>
            <a:pPr marL="285750" indent="-285750">
              <a:buFont typeface="Wingdings" panose="05000000000000000000" pitchFamily="2" charset="2"/>
              <a:buChar char="ü"/>
            </a:pPr>
            <a:endParaRPr kumimoji="1" lang="en-US" altLang="ja-JP" dirty="0"/>
          </a:p>
          <a:p>
            <a:pPr marL="285750" indent="-285750">
              <a:buFont typeface="Wingdings" panose="05000000000000000000" pitchFamily="2" charset="2"/>
              <a:buChar char="ü"/>
            </a:pPr>
            <a:endParaRPr kumimoji="1" lang="en-US" altLang="ja-JP" dirty="0"/>
          </a:p>
        </p:txBody>
      </p:sp>
      <p:sp>
        <p:nvSpPr>
          <p:cNvPr id="5" name="フッター プレースホルダー 4">
            <a:extLst>
              <a:ext uri="{FF2B5EF4-FFF2-40B4-BE49-F238E27FC236}">
                <a16:creationId xmlns:a16="http://schemas.microsoft.com/office/drawing/2014/main" id="{85CE5F70-C9C9-A344-068B-0ED787534B6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grpSp>
        <p:nvGrpSpPr>
          <p:cNvPr id="8" name="Group 9">
            <a:extLst>
              <a:ext uri="{FF2B5EF4-FFF2-40B4-BE49-F238E27FC236}">
                <a16:creationId xmlns:a16="http://schemas.microsoft.com/office/drawing/2014/main" id="{D8902544-67DE-2683-0CA1-D32B0D3DD89B}"/>
              </a:ext>
            </a:extLst>
          </p:cNvPr>
          <p:cNvGrpSpPr>
            <a:grpSpLocks/>
          </p:cNvGrpSpPr>
          <p:nvPr/>
        </p:nvGrpSpPr>
        <p:grpSpPr bwMode="auto">
          <a:xfrm>
            <a:off x="897489" y="3100337"/>
            <a:ext cx="3768695" cy="2959611"/>
            <a:chOff x="120" y="1421"/>
            <a:chExt cx="5420" cy="2352"/>
          </a:xfrm>
          <a:solidFill>
            <a:schemeClr val="tx2">
              <a:lumMod val="50000"/>
              <a:alpha val="40000"/>
            </a:schemeClr>
          </a:solidFill>
        </p:grpSpPr>
        <p:sp>
          <p:nvSpPr>
            <p:cNvPr id="9" name="Freeform 10">
              <a:extLst>
                <a:ext uri="{FF2B5EF4-FFF2-40B4-BE49-F238E27FC236}">
                  <a16:creationId xmlns:a16="http://schemas.microsoft.com/office/drawing/2014/main" id="{A0FCA8E1-913C-30BA-CCF3-558CD001B6B5}"/>
                </a:ext>
              </a:extLst>
            </p:cNvPr>
            <p:cNvSpPr>
              <a:spLocks/>
            </p:cNvSpPr>
            <p:nvPr/>
          </p:nvSpPr>
          <p:spPr bwMode="auto">
            <a:xfrm>
              <a:off x="450" y="1421"/>
              <a:ext cx="3000" cy="1477"/>
            </a:xfrm>
            <a:custGeom>
              <a:avLst/>
              <a:gdLst>
                <a:gd name="T0" fmla="*/ 1 w 2589"/>
                <a:gd name="T1" fmla="*/ 722 h 1297"/>
                <a:gd name="T2" fmla="*/ 98 w 2589"/>
                <a:gd name="T3" fmla="*/ 786 h 1297"/>
                <a:gd name="T4" fmla="*/ 239 w 2589"/>
                <a:gd name="T5" fmla="*/ 680 h 1297"/>
                <a:gd name="T6" fmla="*/ 347 w 2589"/>
                <a:gd name="T7" fmla="*/ 743 h 1297"/>
                <a:gd name="T8" fmla="*/ 559 w 2589"/>
                <a:gd name="T9" fmla="*/ 696 h 1297"/>
                <a:gd name="T10" fmla="*/ 599 w 2589"/>
                <a:gd name="T11" fmla="*/ 768 h 1297"/>
                <a:gd name="T12" fmla="*/ 455 w 2589"/>
                <a:gd name="T13" fmla="*/ 826 h 1297"/>
                <a:gd name="T14" fmla="*/ 515 w 2589"/>
                <a:gd name="T15" fmla="*/ 923 h 1297"/>
                <a:gd name="T16" fmla="*/ 601 w 2589"/>
                <a:gd name="T17" fmla="*/ 1029 h 1297"/>
                <a:gd name="T18" fmla="*/ 690 w 2589"/>
                <a:gd name="T19" fmla="*/ 1160 h 1297"/>
                <a:gd name="T20" fmla="*/ 799 w 2589"/>
                <a:gd name="T21" fmla="*/ 1102 h 1297"/>
                <a:gd name="T22" fmla="*/ 726 w 2589"/>
                <a:gd name="T23" fmla="*/ 968 h 1297"/>
                <a:gd name="T24" fmla="*/ 801 w 2589"/>
                <a:gd name="T25" fmla="*/ 962 h 1297"/>
                <a:gd name="T26" fmla="*/ 989 w 2589"/>
                <a:gd name="T27" fmla="*/ 1033 h 1297"/>
                <a:gd name="T28" fmla="*/ 1093 w 2589"/>
                <a:gd name="T29" fmla="*/ 1188 h 1297"/>
                <a:gd name="T30" fmla="*/ 1163 w 2589"/>
                <a:gd name="T31" fmla="*/ 1200 h 1297"/>
                <a:gd name="T32" fmla="*/ 1280 w 2589"/>
                <a:gd name="T33" fmla="*/ 1059 h 1297"/>
                <a:gd name="T34" fmla="*/ 1333 w 2589"/>
                <a:gd name="T35" fmla="*/ 1087 h 1297"/>
                <a:gd name="T36" fmla="*/ 1398 w 2589"/>
                <a:gd name="T37" fmla="*/ 1265 h 1297"/>
                <a:gd name="T38" fmla="*/ 1474 w 2589"/>
                <a:gd name="T39" fmla="*/ 1289 h 1297"/>
                <a:gd name="T40" fmla="*/ 1510 w 2589"/>
                <a:gd name="T41" fmla="*/ 1202 h 1297"/>
                <a:gd name="T42" fmla="*/ 1525 w 2589"/>
                <a:gd name="T43" fmla="*/ 1113 h 1297"/>
                <a:gd name="T44" fmla="*/ 1631 w 2589"/>
                <a:gd name="T45" fmla="*/ 1030 h 1297"/>
                <a:gd name="T46" fmla="*/ 1702 w 2589"/>
                <a:gd name="T47" fmla="*/ 865 h 1297"/>
                <a:gd name="T48" fmla="*/ 1783 w 2589"/>
                <a:gd name="T49" fmla="*/ 815 h 1297"/>
                <a:gd name="T50" fmla="*/ 1918 w 2589"/>
                <a:gd name="T51" fmla="*/ 774 h 1297"/>
                <a:gd name="T52" fmla="*/ 2002 w 2589"/>
                <a:gd name="T53" fmla="*/ 636 h 1297"/>
                <a:gd name="T54" fmla="*/ 1930 w 2589"/>
                <a:gd name="T55" fmla="*/ 505 h 1297"/>
                <a:gd name="T56" fmla="*/ 2045 w 2589"/>
                <a:gd name="T57" fmla="*/ 409 h 1297"/>
                <a:gd name="T58" fmla="*/ 2133 w 2589"/>
                <a:gd name="T59" fmla="*/ 421 h 1297"/>
                <a:gd name="T60" fmla="*/ 2212 w 2589"/>
                <a:gd name="T61" fmla="*/ 388 h 1297"/>
                <a:gd name="T62" fmla="*/ 2222 w 2589"/>
                <a:gd name="T63" fmla="*/ 437 h 1297"/>
                <a:gd name="T64" fmla="*/ 2188 w 2589"/>
                <a:gd name="T65" fmla="*/ 559 h 1297"/>
                <a:gd name="T66" fmla="*/ 2292 w 2589"/>
                <a:gd name="T67" fmla="*/ 469 h 1297"/>
                <a:gd name="T68" fmla="*/ 2412 w 2589"/>
                <a:gd name="T69" fmla="*/ 397 h 1297"/>
                <a:gd name="T70" fmla="*/ 2565 w 2589"/>
                <a:gd name="T71" fmla="*/ 358 h 1297"/>
                <a:gd name="T72" fmla="*/ 2547 w 2589"/>
                <a:gd name="T73" fmla="*/ 273 h 1297"/>
                <a:gd name="T74" fmla="*/ 2391 w 2589"/>
                <a:gd name="T75" fmla="*/ 223 h 1297"/>
                <a:gd name="T76" fmla="*/ 2181 w 2589"/>
                <a:gd name="T77" fmla="*/ 192 h 1297"/>
                <a:gd name="T78" fmla="*/ 2031 w 2589"/>
                <a:gd name="T79" fmla="*/ 124 h 1297"/>
                <a:gd name="T80" fmla="*/ 1790 w 2589"/>
                <a:gd name="T81" fmla="*/ 144 h 1297"/>
                <a:gd name="T82" fmla="*/ 1559 w 2589"/>
                <a:gd name="T83" fmla="*/ 141 h 1297"/>
                <a:gd name="T84" fmla="*/ 1564 w 2589"/>
                <a:gd name="T85" fmla="*/ 49 h 1297"/>
                <a:gd name="T86" fmla="*/ 1412 w 2589"/>
                <a:gd name="T87" fmla="*/ 55 h 1297"/>
                <a:gd name="T88" fmla="*/ 1278 w 2589"/>
                <a:gd name="T89" fmla="*/ 87 h 1297"/>
                <a:gd name="T90" fmla="*/ 1145 w 2589"/>
                <a:gd name="T91" fmla="*/ 180 h 1297"/>
                <a:gd name="T92" fmla="*/ 983 w 2589"/>
                <a:gd name="T93" fmla="*/ 212 h 1297"/>
                <a:gd name="T94" fmla="*/ 808 w 2589"/>
                <a:gd name="T95" fmla="*/ 241 h 1297"/>
                <a:gd name="T96" fmla="*/ 645 w 2589"/>
                <a:gd name="T97" fmla="*/ 310 h 1297"/>
                <a:gd name="T98" fmla="*/ 617 w 2589"/>
                <a:gd name="T99" fmla="*/ 242 h 1297"/>
                <a:gd name="T100" fmla="*/ 507 w 2589"/>
                <a:gd name="T101" fmla="*/ 183 h 1297"/>
                <a:gd name="T102" fmla="*/ 352 w 2589"/>
                <a:gd name="T103" fmla="*/ 211 h 1297"/>
                <a:gd name="T104" fmla="*/ 192 w 2589"/>
                <a:gd name="T105" fmla="*/ 376 h 1297"/>
                <a:gd name="T106" fmla="*/ 313 w 2589"/>
                <a:gd name="T107" fmla="*/ 458 h 1297"/>
                <a:gd name="T108" fmla="*/ 347 w 2589"/>
                <a:gd name="T109" fmla="*/ 328 h 1297"/>
                <a:gd name="T110" fmla="*/ 426 w 2589"/>
                <a:gd name="T111" fmla="*/ 305 h 1297"/>
                <a:gd name="T112" fmla="*/ 435 w 2589"/>
                <a:gd name="T113" fmla="*/ 379 h 1297"/>
                <a:gd name="T114" fmla="*/ 549 w 2589"/>
                <a:gd name="T115" fmla="*/ 403 h 1297"/>
                <a:gd name="T116" fmla="*/ 410 w 2589"/>
                <a:gd name="T117" fmla="*/ 467 h 1297"/>
                <a:gd name="T118" fmla="*/ 238 w 2589"/>
                <a:gd name="T119" fmla="*/ 515 h 1297"/>
                <a:gd name="T120" fmla="*/ 108 w 2589"/>
                <a:gd name="T121" fmla="*/ 675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89" h="1297">
                  <a:moveTo>
                    <a:pt x="104" y="679"/>
                  </a:moveTo>
                  <a:lnTo>
                    <a:pt x="99" y="682"/>
                  </a:lnTo>
                  <a:lnTo>
                    <a:pt x="92" y="685"/>
                  </a:lnTo>
                  <a:lnTo>
                    <a:pt x="85" y="686"/>
                  </a:lnTo>
                  <a:lnTo>
                    <a:pt x="76" y="685"/>
                  </a:lnTo>
                  <a:lnTo>
                    <a:pt x="66" y="682"/>
                  </a:lnTo>
                  <a:lnTo>
                    <a:pt x="53" y="679"/>
                  </a:lnTo>
                  <a:lnTo>
                    <a:pt x="40" y="675"/>
                  </a:lnTo>
                  <a:lnTo>
                    <a:pt x="25" y="669"/>
                  </a:lnTo>
                  <a:lnTo>
                    <a:pt x="14" y="681"/>
                  </a:lnTo>
                  <a:lnTo>
                    <a:pt x="7" y="693"/>
                  </a:lnTo>
                  <a:lnTo>
                    <a:pt x="2" y="704"/>
                  </a:lnTo>
                  <a:lnTo>
                    <a:pt x="0" y="714"/>
                  </a:lnTo>
                  <a:lnTo>
                    <a:pt x="1" y="722"/>
                  </a:lnTo>
                  <a:lnTo>
                    <a:pt x="3" y="733"/>
                  </a:lnTo>
                  <a:lnTo>
                    <a:pt x="11" y="756"/>
                  </a:lnTo>
                  <a:lnTo>
                    <a:pt x="16" y="767"/>
                  </a:lnTo>
                  <a:lnTo>
                    <a:pt x="22" y="777"/>
                  </a:lnTo>
                  <a:lnTo>
                    <a:pt x="26" y="785"/>
                  </a:lnTo>
                  <a:lnTo>
                    <a:pt x="30" y="791"/>
                  </a:lnTo>
                  <a:lnTo>
                    <a:pt x="35" y="795"/>
                  </a:lnTo>
                  <a:lnTo>
                    <a:pt x="41" y="798"/>
                  </a:lnTo>
                  <a:lnTo>
                    <a:pt x="51" y="801"/>
                  </a:lnTo>
                  <a:lnTo>
                    <a:pt x="60" y="802"/>
                  </a:lnTo>
                  <a:lnTo>
                    <a:pt x="70" y="802"/>
                  </a:lnTo>
                  <a:lnTo>
                    <a:pt x="81" y="799"/>
                  </a:lnTo>
                  <a:lnTo>
                    <a:pt x="90" y="794"/>
                  </a:lnTo>
                  <a:lnTo>
                    <a:pt x="98" y="786"/>
                  </a:lnTo>
                  <a:lnTo>
                    <a:pt x="107" y="776"/>
                  </a:lnTo>
                  <a:lnTo>
                    <a:pt x="111" y="769"/>
                  </a:lnTo>
                  <a:lnTo>
                    <a:pt x="118" y="762"/>
                  </a:lnTo>
                  <a:lnTo>
                    <a:pt x="129" y="746"/>
                  </a:lnTo>
                  <a:lnTo>
                    <a:pt x="142" y="730"/>
                  </a:lnTo>
                  <a:lnTo>
                    <a:pt x="155" y="715"/>
                  </a:lnTo>
                  <a:lnTo>
                    <a:pt x="169" y="701"/>
                  </a:lnTo>
                  <a:lnTo>
                    <a:pt x="181" y="691"/>
                  </a:lnTo>
                  <a:lnTo>
                    <a:pt x="188" y="687"/>
                  </a:lnTo>
                  <a:lnTo>
                    <a:pt x="194" y="684"/>
                  </a:lnTo>
                  <a:lnTo>
                    <a:pt x="204" y="681"/>
                  </a:lnTo>
                  <a:lnTo>
                    <a:pt x="215" y="679"/>
                  </a:lnTo>
                  <a:lnTo>
                    <a:pt x="227" y="679"/>
                  </a:lnTo>
                  <a:lnTo>
                    <a:pt x="239" y="680"/>
                  </a:lnTo>
                  <a:lnTo>
                    <a:pt x="250" y="683"/>
                  </a:lnTo>
                  <a:lnTo>
                    <a:pt x="259" y="688"/>
                  </a:lnTo>
                  <a:lnTo>
                    <a:pt x="269" y="692"/>
                  </a:lnTo>
                  <a:lnTo>
                    <a:pt x="277" y="699"/>
                  </a:lnTo>
                  <a:lnTo>
                    <a:pt x="283" y="705"/>
                  </a:lnTo>
                  <a:lnTo>
                    <a:pt x="288" y="712"/>
                  </a:lnTo>
                  <a:lnTo>
                    <a:pt x="295" y="720"/>
                  </a:lnTo>
                  <a:lnTo>
                    <a:pt x="302" y="729"/>
                  </a:lnTo>
                  <a:lnTo>
                    <a:pt x="309" y="739"/>
                  </a:lnTo>
                  <a:lnTo>
                    <a:pt x="317" y="751"/>
                  </a:lnTo>
                  <a:lnTo>
                    <a:pt x="327" y="763"/>
                  </a:lnTo>
                  <a:lnTo>
                    <a:pt x="336" y="777"/>
                  </a:lnTo>
                  <a:lnTo>
                    <a:pt x="336" y="776"/>
                  </a:lnTo>
                  <a:lnTo>
                    <a:pt x="347" y="743"/>
                  </a:lnTo>
                  <a:lnTo>
                    <a:pt x="385" y="733"/>
                  </a:lnTo>
                  <a:lnTo>
                    <a:pt x="400" y="735"/>
                  </a:lnTo>
                  <a:lnTo>
                    <a:pt x="418" y="717"/>
                  </a:lnTo>
                  <a:lnTo>
                    <a:pt x="436" y="738"/>
                  </a:lnTo>
                  <a:lnTo>
                    <a:pt x="445" y="726"/>
                  </a:lnTo>
                  <a:lnTo>
                    <a:pt x="447" y="734"/>
                  </a:lnTo>
                  <a:lnTo>
                    <a:pt x="458" y="716"/>
                  </a:lnTo>
                  <a:lnTo>
                    <a:pt x="471" y="694"/>
                  </a:lnTo>
                  <a:lnTo>
                    <a:pt x="486" y="669"/>
                  </a:lnTo>
                  <a:lnTo>
                    <a:pt x="503" y="676"/>
                  </a:lnTo>
                  <a:lnTo>
                    <a:pt x="519" y="684"/>
                  </a:lnTo>
                  <a:lnTo>
                    <a:pt x="530" y="689"/>
                  </a:lnTo>
                  <a:lnTo>
                    <a:pt x="543" y="693"/>
                  </a:lnTo>
                  <a:lnTo>
                    <a:pt x="559" y="696"/>
                  </a:lnTo>
                  <a:lnTo>
                    <a:pt x="579" y="699"/>
                  </a:lnTo>
                  <a:lnTo>
                    <a:pt x="599" y="705"/>
                  </a:lnTo>
                  <a:lnTo>
                    <a:pt x="615" y="709"/>
                  </a:lnTo>
                  <a:lnTo>
                    <a:pt x="626" y="714"/>
                  </a:lnTo>
                  <a:lnTo>
                    <a:pt x="633" y="720"/>
                  </a:lnTo>
                  <a:lnTo>
                    <a:pt x="640" y="725"/>
                  </a:lnTo>
                  <a:lnTo>
                    <a:pt x="648" y="734"/>
                  </a:lnTo>
                  <a:lnTo>
                    <a:pt x="660" y="747"/>
                  </a:lnTo>
                  <a:lnTo>
                    <a:pt x="667" y="754"/>
                  </a:lnTo>
                  <a:lnTo>
                    <a:pt x="675" y="762"/>
                  </a:lnTo>
                  <a:lnTo>
                    <a:pt x="645" y="766"/>
                  </a:lnTo>
                  <a:lnTo>
                    <a:pt x="633" y="768"/>
                  </a:lnTo>
                  <a:lnTo>
                    <a:pt x="620" y="768"/>
                  </a:lnTo>
                  <a:lnTo>
                    <a:pt x="599" y="768"/>
                  </a:lnTo>
                  <a:lnTo>
                    <a:pt x="588" y="766"/>
                  </a:lnTo>
                  <a:lnTo>
                    <a:pt x="579" y="762"/>
                  </a:lnTo>
                  <a:lnTo>
                    <a:pt x="569" y="760"/>
                  </a:lnTo>
                  <a:lnTo>
                    <a:pt x="559" y="758"/>
                  </a:lnTo>
                  <a:lnTo>
                    <a:pt x="547" y="757"/>
                  </a:lnTo>
                  <a:lnTo>
                    <a:pt x="535" y="758"/>
                  </a:lnTo>
                  <a:lnTo>
                    <a:pt x="523" y="760"/>
                  </a:lnTo>
                  <a:lnTo>
                    <a:pt x="512" y="762"/>
                  </a:lnTo>
                  <a:lnTo>
                    <a:pt x="501" y="767"/>
                  </a:lnTo>
                  <a:lnTo>
                    <a:pt x="491" y="773"/>
                  </a:lnTo>
                  <a:lnTo>
                    <a:pt x="479" y="781"/>
                  </a:lnTo>
                  <a:lnTo>
                    <a:pt x="469" y="792"/>
                  </a:lnTo>
                  <a:lnTo>
                    <a:pt x="461" y="808"/>
                  </a:lnTo>
                  <a:lnTo>
                    <a:pt x="455" y="826"/>
                  </a:lnTo>
                  <a:lnTo>
                    <a:pt x="472" y="831"/>
                  </a:lnTo>
                  <a:lnTo>
                    <a:pt x="486" y="834"/>
                  </a:lnTo>
                  <a:lnTo>
                    <a:pt x="499" y="837"/>
                  </a:lnTo>
                  <a:lnTo>
                    <a:pt x="510" y="840"/>
                  </a:lnTo>
                  <a:lnTo>
                    <a:pt x="517" y="842"/>
                  </a:lnTo>
                  <a:lnTo>
                    <a:pt x="522" y="845"/>
                  </a:lnTo>
                  <a:lnTo>
                    <a:pt x="527" y="848"/>
                  </a:lnTo>
                  <a:lnTo>
                    <a:pt x="530" y="851"/>
                  </a:lnTo>
                  <a:lnTo>
                    <a:pt x="534" y="861"/>
                  </a:lnTo>
                  <a:lnTo>
                    <a:pt x="535" y="874"/>
                  </a:lnTo>
                  <a:lnTo>
                    <a:pt x="533" y="885"/>
                  </a:lnTo>
                  <a:lnTo>
                    <a:pt x="530" y="897"/>
                  </a:lnTo>
                  <a:lnTo>
                    <a:pt x="524" y="910"/>
                  </a:lnTo>
                  <a:lnTo>
                    <a:pt x="515" y="923"/>
                  </a:lnTo>
                  <a:lnTo>
                    <a:pt x="519" y="927"/>
                  </a:lnTo>
                  <a:lnTo>
                    <a:pt x="527" y="932"/>
                  </a:lnTo>
                  <a:lnTo>
                    <a:pt x="549" y="954"/>
                  </a:lnTo>
                  <a:lnTo>
                    <a:pt x="555" y="961"/>
                  </a:lnTo>
                  <a:lnTo>
                    <a:pt x="559" y="967"/>
                  </a:lnTo>
                  <a:lnTo>
                    <a:pt x="560" y="972"/>
                  </a:lnTo>
                  <a:lnTo>
                    <a:pt x="568" y="973"/>
                  </a:lnTo>
                  <a:lnTo>
                    <a:pt x="574" y="979"/>
                  </a:lnTo>
                  <a:lnTo>
                    <a:pt x="580" y="986"/>
                  </a:lnTo>
                  <a:lnTo>
                    <a:pt x="586" y="995"/>
                  </a:lnTo>
                  <a:lnTo>
                    <a:pt x="595" y="1012"/>
                  </a:lnTo>
                  <a:lnTo>
                    <a:pt x="598" y="1019"/>
                  </a:lnTo>
                  <a:lnTo>
                    <a:pt x="600" y="1025"/>
                  </a:lnTo>
                  <a:lnTo>
                    <a:pt x="601" y="1029"/>
                  </a:lnTo>
                  <a:lnTo>
                    <a:pt x="602" y="1035"/>
                  </a:lnTo>
                  <a:lnTo>
                    <a:pt x="605" y="1042"/>
                  </a:lnTo>
                  <a:lnTo>
                    <a:pt x="608" y="1050"/>
                  </a:lnTo>
                  <a:lnTo>
                    <a:pt x="617" y="1069"/>
                  </a:lnTo>
                  <a:lnTo>
                    <a:pt x="628" y="1088"/>
                  </a:lnTo>
                  <a:lnTo>
                    <a:pt x="639" y="1109"/>
                  </a:lnTo>
                  <a:lnTo>
                    <a:pt x="649" y="1126"/>
                  </a:lnTo>
                  <a:lnTo>
                    <a:pt x="654" y="1132"/>
                  </a:lnTo>
                  <a:lnTo>
                    <a:pt x="658" y="1138"/>
                  </a:lnTo>
                  <a:lnTo>
                    <a:pt x="661" y="1141"/>
                  </a:lnTo>
                  <a:lnTo>
                    <a:pt x="664" y="1142"/>
                  </a:lnTo>
                  <a:lnTo>
                    <a:pt x="670" y="1145"/>
                  </a:lnTo>
                  <a:lnTo>
                    <a:pt x="676" y="1149"/>
                  </a:lnTo>
                  <a:lnTo>
                    <a:pt x="690" y="1160"/>
                  </a:lnTo>
                  <a:lnTo>
                    <a:pt x="705" y="1170"/>
                  </a:lnTo>
                  <a:lnTo>
                    <a:pt x="711" y="1174"/>
                  </a:lnTo>
                  <a:lnTo>
                    <a:pt x="715" y="1177"/>
                  </a:lnTo>
                  <a:lnTo>
                    <a:pt x="720" y="1177"/>
                  </a:lnTo>
                  <a:lnTo>
                    <a:pt x="728" y="1175"/>
                  </a:lnTo>
                  <a:lnTo>
                    <a:pt x="735" y="1173"/>
                  </a:lnTo>
                  <a:lnTo>
                    <a:pt x="746" y="1169"/>
                  </a:lnTo>
                  <a:lnTo>
                    <a:pt x="754" y="1164"/>
                  </a:lnTo>
                  <a:lnTo>
                    <a:pt x="761" y="1158"/>
                  </a:lnTo>
                  <a:lnTo>
                    <a:pt x="768" y="1152"/>
                  </a:lnTo>
                  <a:lnTo>
                    <a:pt x="773" y="1145"/>
                  </a:lnTo>
                  <a:lnTo>
                    <a:pt x="776" y="1137"/>
                  </a:lnTo>
                  <a:lnTo>
                    <a:pt x="782" y="1127"/>
                  </a:lnTo>
                  <a:lnTo>
                    <a:pt x="799" y="1102"/>
                  </a:lnTo>
                  <a:lnTo>
                    <a:pt x="808" y="1091"/>
                  </a:lnTo>
                  <a:lnTo>
                    <a:pt x="817" y="1081"/>
                  </a:lnTo>
                  <a:lnTo>
                    <a:pt x="826" y="1072"/>
                  </a:lnTo>
                  <a:lnTo>
                    <a:pt x="834" y="1067"/>
                  </a:lnTo>
                  <a:lnTo>
                    <a:pt x="855" y="1055"/>
                  </a:lnTo>
                  <a:lnTo>
                    <a:pt x="877" y="1041"/>
                  </a:lnTo>
                  <a:lnTo>
                    <a:pt x="836" y="1029"/>
                  </a:lnTo>
                  <a:lnTo>
                    <a:pt x="794" y="1017"/>
                  </a:lnTo>
                  <a:lnTo>
                    <a:pt x="776" y="1011"/>
                  </a:lnTo>
                  <a:lnTo>
                    <a:pt x="760" y="1003"/>
                  </a:lnTo>
                  <a:lnTo>
                    <a:pt x="746" y="996"/>
                  </a:lnTo>
                  <a:lnTo>
                    <a:pt x="735" y="986"/>
                  </a:lnTo>
                  <a:lnTo>
                    <a:pt x="729" y="977"/>
                  </a:lnTo>
                  <a:lnTo>
                    <a:pt x="726" y="968"/>
                  </a:lnTo>
                  <a:lnTo>
                    <a:pt x="724" y="959"/>
                  </a:lnTo>
                  <a:lnTo>
                    <a:pt x="725" y="951"/>
                  </a:lnTo>
                  <a:lnTo>
                    <a:pt x="728" y="944"/>
                  </a:lnTo>
                  <a:lnTo>
                    <a:pt x="733" y="936"/>
                  </a:lnTo>
                  <a:lnTo>
                    <a:pt x="738" y="930"/>
                  </a:lnTo>
                  <a:lnTo>
                    <a:pt x="746" y="925"/>
                  </a:lnTo>
                  <a:lnTo>
                    <a:pt x="753" y="922"/>
                  </a:lnTo>
                  <a:lnTo>
                    <a:pt x="760" y="922"/>
                  </a:lnTo>
                  <a:lnTo>
                    <a:pt x="767" y="924"/>
                  </a:lnTo>
                  <a:lnTo>
                    <a:pt x="774" y="928"/>
                  </a:lnTo>
                  <a:lnTo>
                    <a:pt x="785" y="939"/>
                  </a:lnTo>
                  <a:lnTo>
                    <a:pt x="792" y="950"/>
                  </a:lnTo>
                  <a:lnTo>
                    <a:pt x="796" y="956"/>
                  </a:lnTo>
                  <a:lnTo>
                    <a:pt x="801" y="962"/>
                  </a:lnTo>
                  <a:lnTo>
                    <a:pt x="814" y="977"/>
                  </a:lnTo>
                  <a:lnTo>
                    <a:pt x="822" y="984"/>
                  </a:lnTo>
                  <a:lnTo>
                    <a:pt x="831" y="989"/>
                  </a:lnTo>
                  <a:lnTo>
                    <a:pt x="842" y="991"/>
                  </a:lnTo>
                  <a:lnTo>
                    <a:pt x="852" y="991"/>
                  </a:lnTo>
                  <a:lnTo>
                    <a:pt x="858" y="991"/>
                  </a:lnTo>
                  <a:lnTo>
                    <a:pt x="865" y="991"/>
                  </a:lnTo>
                  <a:lnTo>
                    <a:pt x="882" y="992"/>
                  </a:lnTo>
                  <a:lnTo>
                    <a:pt x="901" y="996"/>
                  </a:lnTo>
                  <a:lnTo>
                    <a:pt x="921" y="1001"/>
                  </a:lnTo>
                  <a:lnTo>
                    <a:pt x="942" y="1008"/>
                  </a:lnTo>
                  <a:lnTo>
                    <a:pt x="961" y="1015"/>
                  </a:lnTo>
                  <a:lnTo>
                    <a:pt x="976" y="1025"/>
                  </a:lnTo>
                  <a:lnTo>
                    <a:pt x="989" y="1033"/>
                  </a:lnTo>
                  <a:lnTo>
                    <a:pt x="998" y="1042"/>
                  </a:lnTo>
                  <a:lnTo>
                    <a:pt x="1008" y="1048"/>
                  </a:lnTo>
                  <a:lnTo>
                    <a:pt x="1031" y="1061"/>
                  </a:lnTo>
                  <a:lnTo>
                    <a:pt x="1041" y="1068"/>
                  </a:lnTo>
                  <a:lnTo>
                    <a:pt x="1050" y="1075"/>
                  </a:lnTo>
                  <a:lnTo>
                    <a:pt x="1056" y="1083"/>
                  </a:lnTo>
                  <a:lnTo>
                    <a:pt x="1060" y="1092"/>
                  </a:lnTo>
                  <a:lnTo>
                    <a:pt x="1064" y="1113"/>
                  </a:lnTo>
                  <a:lnTo>
                    <a:pt x="1067" y="1134"/>
                  </a:lnTo>
                  <a:lnTo>
                    <a:pt x="1073" y="1155"/>
                  </a:lnTo>
                  <a:lnTo>
                    <a:pt x="1078" y="1164"/>
                  </a:lnTo>
                  <a:lnTo>
                    <a:pt x="1082" y="1172"/>
                  </a:lnTo>
                  <a:lnTo>
                    <a:pt x="1087" y="1179"/>
                  </a:lnTo>
                  <a:lnTo>
                    <a:pt x="1093" y="1188"/>
                  </a:lnTo>
                  <a:lnTo>
                    <a:pt x="1104" y="1210"/>
                  </a:lnTo>
                  <a:lnTo>
                    <a:pt x="1117" y="1230"/>
                  </a:lnTo>
                  <a:lnTo>
                    <a:pt x="1123" y="1240"/>
                  </a:lnTo>
                  <a:lnTo>
                    <a:pt x="1131" y="1246"/>
                  </a:lnTo>
                  <a:lnTo>
                    <a:pt x="1138" y="1250"/>
                  </a:lnTo>
                  <a:lnTo>
                    <a:pt x="1144" y="1253"/>
                  </a:lnTo>
                  <a:lnTo>
                    <a:pt x="1150" y="1253"/>
                  </a:lnTo>
                  <a:lnTo>
                    <a:pt x="1154" y="1253"/>
                  </a:lnTo>
                  <a:lnTo>
                    <a:pt x="1158" y="1250"/>
                  </a:lnTo>
                  <a:lnTo>
                    <a:pt x="1160" y="1242"/>
                  </a:lnTo>
                  <a:lnTo>
                    <a:pt x="1161" y="1232"/>
                  </a:lnTo>
                  <a:lnTo>
                    <a:pt x="1162" y="1225"/>
                  </a:lnTo>
                  <a:lnTo>
                    <a:pt x="1162" y="1217"/>
                  </a:lnTo>
                  <a:lnTo>
                    <a:pt x="1163" y="1200"/>
                  </a:lnTo>
                  <a:lnTo>
                    <a:pt x="1165" y="1184"/>
                  </a:lnTo>
                  <a:lnTo>
                    <a:pt x="1167" y="1168"/>
                  </a:lnTo>
                  <a:lnTo>
                    <a:pt x="1171" y="1153"/>
                  </a:lnTo>
                  <a:lnTo>
                    <a:pt x="1177" y="1139"/>
                  </a:lnTo>
                  <a:lnTo>
                    <a:pt x="1185" y="1126"/>
                  </a:lnTo>
                  <a:lnTo>
                    <a:pt x="1195" y="1114"/>
                  </a:lnTo>
                  <a:lnTo>
                    <a:pt x="1206" y="1104"/>
                  </a:lnTo>
                  <a:lnTo>
                    <a:pt x="1219" y="1095"/>
                  </a:lnTo>
                  <a:lnTo>
                    <a:pt x="1231" y="1087"/>
                  </a:lnTo>
                  <a:lnTo>
                    <a:pt x="1243" y="1080"/>
                  </a:lnTo>
                  <a:lnTo>
                    <a:pt x="1254" y="1074"/>
                  </a:lnTo>
                  <a:lnTo>
                    <a:pt x="1263" y="1069"/>
                  </a:lnTo>
                  <a:lnTo>
                    <a:pt x="1272" y="1064"/>
                  </a:lnTo>
                  <a:lnTo>
                    <a:pt x="1280" y="1059"/>
                  </a:lnTo>
                  <a:lnTo>
                    <a:pt x="1286" y="1057"/>
                  </a:lnTo>
                  <a:lnTo>
                    <a:pt x="1293" y="1053"/>
                  </a:lnTo>
                  <a:lnTo>
                    <a:pt x="1308" y="1037"/>
                  </a:lnTo>
                  <a:lnTo>
                    <a:pt x="1317" y="1031"/>
                  </a:lnTo>
                  <a:lnTo>
                    <a:pt x="1325" y="1026"/>
                  </a:lnTo>
                  <a:lnTo>
                    <a:pt x="1327" y="1025"/>
                  </a:lnTo>
                  <a:lnTo>
                    <a:pt x="1330" y="1026"/>
                  </a:lnTo>
                  <a:lnTo>
                    <a:pt x="1332" y="1029"/>
                  </a:lnTo>
                  <a:lnTo>
                    <a:pt x="1334" y="1031"/>
                  </a:lnTo>
                  <a:lnTo>
                    <a:pt x="1335" y="1037"/>
                  </a:lnTo>
                  <a:lnTo>
                    <a:pt x="1335" y="1045"/>
                  </a:lnTo>
                  <a:lnTo>
                    <a:pt x="1334" y="1061"/>
                  </a:lnTo>
                  <a:lnTo>
                    <a:pt x="1333" y="1075"/>
                  </a:lnTo>
                  <a:lnTo>
                    <a:pt x="1333" y="1087"/>
                  </a:lnTo>
                  <a:lnTo>
                    <a:pt x="1334" y="1099"/>
                  </a:lnTo>
                  <a:lnTo>
                    <a:pt x="1336" y="1108"/>
                  </a:lnTo>
                  <a:lnTo>
                    <a:pt x="1339" y="1117"/>
                  </a:lnTo>
                  <a:lnTo>
                    <a:pt x="1345" y="1127"/>
                  </a:lnTo>
                  <a:lnTo>
                    <a:pt x="1352" y="1137"/>
                  </a:lnTo>
                  <a:lnTo>
                    <a:pt x="1361" y="1148"/>
                  </a:lnTo>
                  <a:lnTo>
                    <a:pt x="1369" y="1160"/>
                  </a:lnTo>
                  <a:lnTo>
                    <a:pt x="1380" y="1183"/>
                  </a:lnTo>
                  <a:lnTo>
                    <a:pt x="1388" y="1203"/>
                  </a:lnTo>
                  <a:lnTo>
                    <a:pt x="1390" y="1213"/>
                  </a:lnTo>
                  <a:lnTo>
                    <a:pt x="1393" y="1221"/>
                  </a:lnTo>
                  <a:lnTo>
                    <a:pt x="1395" y="1232"/>
                  </a:lnTo>
                  <a:lnTo>
                    <a:pt x="1397" y="1247"/>
                  </a:lnTo>
                  <a:lnTo>
                    <a:pt x="1398" y="1265"/>
                  </a:lnTo>
                  <a:lnTo>
                    <a:pt x="1401" y="1284"/>
                  </a:lnTo>
                  <a:lnTo>
                    <a:pt x="1401" y="1282"/>
                  </a:lnTo>
                  <a:lnTo>
                    <a:pt x="1435" y="1259"/>
                  </a:lnTo>
                  <a:lnTo>
                    <a:pt x="1437" y="1259"/>
                  </a:lnTo>
                  <a:lnTo>
                    <a:pt x="1441" y="1269"/>
                  </a:lnTo>
                  <a:lnTo>
                    <a:pt x="1446" y="1278"/>
                  </a:lnTo>
                  <a:lnTo>
                    <a:pt x="1451" y="1285"/>
                  </a:lnTo>
                  <a:lnTo>
                    <a:pt x="1455" y="1291"/>
                  </a:lnTo>
                  <a:lnTo>
                    <a:pt x="1459" y="1294"/>
                  </a:lnTo>
                  <a:lnTo>
                    <a:pt x="1463" y="1296"/>
                  </a:lnTo>
                  <a:lnTo>
                    <a:pt x="1467" y="1296"/>
                  </a:lnTo>
                  <a:lnTo>
                    <a:pt x="1471" y="1294"/>
                  </a:lnTo>
                  <a:lnTo>
                    <a:pt x="1473" y="1292"/>
                  </a:lnTo>
                  <a:lnTo>
                    <a:pt x="1474" y="1289"/>
                  </a:lnTo>
                  <a:lnTo>
                    <a:pt x="1473" y="1282"/>
                  </a:lnTo>
                  <a:lnTo>
                    <a:pt x="1471" y="1272"/>
                  </a:lnTo>
                  <a:lnTo>
                    <a:pt x="1466" y="1261"/>
                  </a:lnTo>
                  <a:lnTo>
                    <a:pt x="1456" y="1240"/>
                  </a:lnTo>
                  <a:lnTo>
                    <a:pt x="1455" y="1230"/>
                  </a:lnTo>
                  <a:lnTo>
                    <a:pt x="1456" y="1221"/>
                  </a:lnTo>
                  <a:lnTo>
                    <a:pt x="1459" y="1214"/>
                  </a:lnTo>
                  <a:lnTo>
                    <a:pt x="1464" y="1210"/>
                  </a:lnTo>
                  <a:lnTo>
                    <a:pt x="1469" y="1208"/>
                  </a:lnTo>
                  <a:lnTo>
                    <a:pt x="1473" y="1206"/>
                  </a:lnTo>
                  <a:lnTo>
                    <a:pt x="1485" y="1205"/>
                  </a:lnTo>
                  <a:lnTo>
                    <a:pt x="1497" y="1206"/>
                  </a:lnTo>
                  <a:lnTo>
                    <a:pt x="1503" y="1205"/>
                  </a:lnTo>
                  <a:lnTo>
                    <a:pt x="1510" y="1202"/>
                  </a:lnTo>
                  <a:lnTo>
                    <a:pt x="1524" y="1195"/>
                  </a:lnTo>
                  <a:lnTo>
                    <a:pt x="1538" y="1184"/>
                  </a:lnTo>
                  <a:lnTo>
                    <a:pt x="1551" y="1172"/>
                  </a:lnTo>
                  <a:lnTo>
                    <a:pt x="1555" y="1167"/>
                  </a:lnTo>
                  <a:lnTo>
                    <a:pt x="1555" y="1161"/>
                  </a:lnTo>
                  <a:lnTo>
                    <a:pt x="1553" y="1156"/>
                  </a:lnTo>
                  <a:lnTo>
                    <a:pt x="1548" y="1150"/>
                  </a:lnTo>
                  <a:lnTo>
                    <a:pt x="1544" y="1145"/>
                  </a:lnTo>
                  <a:lnTo>
                    <a:pt x="1541" y="1139"/>
                  </a:lnTo>
                  <a:lnTo>
                    <a:pt x="1537" y="1133"/>
                  </a:lnTo>
                  <a:lnTo>
                    <a:pt x="1536" y="1128"/>
                  </a:lnTo>
                  <a:lnTo>
                    <a:pt x="1534" y="1123"/>
                  </a:lnTo>
                  <a:lnTo>
                    <a:pt x="1530" y="1118"/>
                  </a:lnTo>
                  <a:lnTo>
                    <a:pt x="1525" y="1113"/>
                  </a:lnTo>
                  <a:lnTo>
                    <a:pt x="1520" y="1109"/>
                  </a:lnTo>
                  <a:lnTo>
                    <a:pt x="1514" y="1104"/>
                  </a:lnTo>
                  <a:lnTo>
                    <a:pt x="1511" y="1099"/>
                  </a:lnTo>
                  <a:lnTo>
                    <a:pt x="1510" y="1094"/>
                  </a:lnTo>
                  <a:lnTo>
                    <a:pt x="1512" y="1088"/>
                  </a:lnTo>
                  <a:lnTo>
                    <a:pt x="1517" y="1082"/>
                  </a:lnTo>
                  <a:lnTo>
                    <a:pt x="1527" y="1076"/>
                  </a:lnTo>
                  <a:lnTo>
                    <a:pt x="1539" y="1070"/>
                  </a:lnTo>
                  <a:lnTo>
                    <a:pt x="1553" y="1062"/>
                  </a:lnTo>
                  <a:lnTo>
                    <a:pt x="1583" y="1050"/>
                  </a:lnTo>
                  <a:lnTo>
                    <a:pt x="1598" y="1044"/>
                  </a:lnTo>
                  <a:lnTo>
                    <a:pt x="1611" y="1041"/>
                  </a:lnTo>
                  <a:lnTo>
                    <a:pt x="1621" y="1036"/>
                  </a:lnTo>
                  <a:lnTo>
                    <a:pt x="1631" y="1030"/>
                  </a:lnTo>
                  <a:lnTo>
                    <a:pt x="1654" y="1015"/>
                  </a:lnTo>
                  <a:lnTo>
                    <a:pt x="1674" y="998"/>
                  </a:lnTo>
                  <a:lnTo>
                    <a:pt x="1694" y="982"/>
                  </a:lnTo>
                  <a:lnTo>
                    <a:pt x="1702" y="973"/>
                  </a:lnTo>
                  <a:lnTo>
                    <a:pt x="1708" y="964"/>
                  </a:lnTo>
                  <a:lnTo>
                    <a:pt x="1713" y="953"/>
                  </a:lnTo>
                  <a:lnTo>
                    <a:pt x="1715" y="942"/>
                  </a:lnTo>
                  <a:lnTo>
                    <a:pt x="1715" y="930"/>
                  </a:lnTo>
                  <a:lnTo>
                    <a:pt x="1714" y="918"/>
                  </a:lnTo>
                  <a:lnTo>
                    <a:pt x="1712" y="908"/>
                  </a:lnTo>
                  <a:lnTo>
                    <a:pt x="1708" y="898"/>
                  </a:lnTo>
                  <a:lnTo>
                    <a:pt x="1702" y="881"/>
                  </a:lnTo>
                  <a:lnTo>
                    <a:pt x="1702" y="873"/>
                  </a:lnTo>
                  <a:lnTo>
                    <a:pt x="1702" y="865"/>
                  </a:lnTo>
                  <a:lnTo>
                    <a:pt x="1704" y="856"/>
                  </a:lnTo>
                  <a:lnTo>
                    <a:pt x="1707" y="848"/>
                  </a:lnTo>
                  <a:lnTo>
                    <a:pt x="1713" y="840"/>
                  </a:lnTo>
                  <a:lnTo>
                    <a:pt x="1719" y="831"/>
                  </a:lnTo>
                  <a:lnTo>
                    <a:pt x="1735" y="810"/>
                  </a:lnTo>
                  <a:lnTo>
                    <a:pt x="1745" y="801"/>
                  </a:lnTo>
                  <a:lnTo>
                    <a:pt x="1752" y="791"/>
                  </a:lnTo>
                  <a:lnTo>
                    <a:pt x="1760" y="786"/>
                  </a:lnTo>
                  <a:lnTo>
                    <a:pt x="1768" y="784"/>
                  </a:lnTo>
                  <a:lnTo>
                    <a:pt x="1771" y="785"/>
                  </a:lnTo>
                  <a:lnTo>
                    <a:pt x="1774" y="787"/>
                  </a:lnTo>
                  <a:lnTo>
                    <a:pt x="1776" y="790"/>
                  </a:lnTo>
                  <a:lnTo>
                    <a:pt x="1778" y="796"/>
                  </a:lnTo>
                  <a:lnTo>
                    <a:pt x="1783" y="815"/>
                  </a:lnTo>
                  <a:lnTo>
                    <a:pt x="1786" y="836"/>
                  </a:lnTo>
                  <a:lnTo>
                    <a:pt x="1788" y="859"/>
                  </a:lnTo>
                  <a:lnTo>
                    <a:pt x="1789" y="885"/>
                  </a:lnTo>
                  <a:lnTo>
                    <a:pt x="1800" y="876"/>
                  </a:lnTo>
                  <a:lnTo>
                    <a:pt x="1809" y="865"/>
                  </a:lnTo>
                  <a:lnTo>
                    <a:pt x="1816" y="852"/>
                  </a:lnTo>
                  <a:lnTo>
                    <a:pt x="1822" y="838"/>
                  </a:lnTo>
                  <a:lnTo>
                    <a:pt x="1827" y="825"/>
                  </a:lnTo>
                  <a:lnTo>
                    <a:pt x="1831" y="814"/>
                  </a:lnTo>
                  <a:lnTo>
                    <a:pt x="1834" y="803"/>
                  </a:lnTo>
                  <a:lnTo>
                    <a:pt x="1838" y="796"/>
                  </a:lnTo>
                  <a:lnTo>
                    <a:pt x="1882" y="780"/>
                  </a:lnTo>
                  <a:lnTo>
                    <a:pt x="1894" y="780"/>
                  </a:lnTo>
                  <a:lnTo>
                    <a:pt x="1918" y="774"/>
                  </a:lnTo>
                  <a:lnTo>
                    <a:pt x="1930" y="765"/>
                  </a:lnTo>
                  <a:lnTo>
                    <a:pt x="1930" y="759"/>
                  </a:lnTo>
                  <a:lnTo>
                    <a:pt x="1933" y="765"/>
                  </a:lnTo>
                  <a:lnTo>
                    <a:pt x="1930" y="756"/>
                  </a:lnTo>
                  <a:lnTo>
                    <a:pt x="1945" y="750"/>
                  </a:lnTo>
                  <a:lnTo>
                    <a:pt x="1954" y="738"/>
                  </a:lnTo>
                  <a:lnTo>
                    <a:pt x="1960" y="705"/>
                  </a:lnTo>
                  <a:lnTo>
                    <a:pt x="1957" y="702"/>
                  </a:lnTo>
                  <a:lnTo>
                    <a:pt x="1960" y="705"/>
                  </a:lnTo>
                  <a:lnTo>
                    <a:pt x="1969" y="702"/>
                  </a:lnTo>
                  <a:lnTo>
                    <a:pt x="1966" y="684"/>
                  </a:lnTo>
                  <a:lnTo>
                    <a:pt x="1978" y="675"/>
                  </a:lnTo>
                  <a:lnTo>
                    <a:pt x="1996" y="657"/>
                  </a:lnTo>
                  <a:lnTo>
                    <a:pt x="2002" y="636"/>
                  </a:lnTo>
                  <a:lnTo>
                    <a:pt x="2008" y="618"/>
                  </a:lnTo>
                  <a:lnTo>
                    <a:pt x="2014" y="612"/>
                  </a:lnTo>
                  <a:lnTo>
                    <a:pt x="1987" y="562"/>
                  </a:lnTo>
                  <a:lnTo>
                    <a:pt x="1990" y="556"/>
                  </a:lnTo>
                  <a:lnTo>
                    <a:pt x="1990" y="548"/>
                  </a:lnTo>
                  <a:lnTo>
                    <a:pt x="1987" y="538"/>
                  </a:lnTo>
                  <a:lnTo>
                    <a:pt x="1983" y="529"/>
                  </a:lnTo>
                  <a:lnTo>
                    <a:pt x="1977" y="522"/>
                  </a:lnTo>
                  <a:lnTo>
                    <a:pt x="1969" y="515"/>
                  </a:lnTo>
                  <a:lnTo>
                    <a:pt x="1959" y="510"/>
                  </a:lnTo>
                  <a:lnTo>
                    <a:pt x="1947" y="509"/>
                  </a:lnTo>
                  <a:lnTo>
                    <a:pt x="1941" y="509"/>
                  </a:lnTo>
                  <a:lnTo>
                    <a:pt x="1936" y="508"/>
                  </a:lnTo>
                  <a:lnTo>
                    <a:pt x="1930" y="505"/>
                  </a:lnTo>
                  <a:lnTo>
                    <a:pt x="1927" y="500"/>
                  </a:lnTo>
                  <a:lnTo>
                    <a:pt x="1927" y="494"/>
                  </a:lnTo>
                  <a:lnTo>
                    <a:pt x="1930" y="487"/>
                  </a:lnTo>
                  <a:lnTo>
                    <a:pt x="1936" y="478"/>
                  </a:lnTo>
                  <a:lnTo>
                    <a:pt x="1943" y="469"/>
                  </a:lnTo>
                  <a:lnTo>
                    <a:pt x="1951" y="460"/>
                  </a:lnTo>
                  <a:lnTo>
                    <a:pt x="1962" y="450"/>
                  </a:lnTo>
                  <a:lnTo>
                    <a:pt x="1977" y="439"/>
                  </a:lnTo>
                  <a:lnTo>
                    <a:pt x="2006" y="420"/>
                  </a:lnTo>
                  <a:lnTo>
                    <a:pt x="2021" y="414"/>
                  </a:lnTo>
                  <a:lnTo>
                    <a:pt x="2034" y="409"/>
                  </a:lnTo>
                  <a:lnTo>
                    <a:pt x="2038" y="408"/>
                  </a:lnTo>
                  <a:lnTo>
                    <a:pt x="2043" y="408"/>
                  </a:lnTo>
                  <a:lnTo>
                    <a:pt x="2045" y="409"/>
                  </a:lnTo>
                  <a:lnTo>
                    <a:pt x="2047" y="411"/>
                  </a:lnTo>
                  <a:lnTo>
                    <a:pt x="2049" y="417"/>
                  </a:lnTo>
                  <a:lnTo>
                    <a:pt x="2051" y="424"/>
                  </a:lnTo>
                  <a:lnTo>
                    <a:pt x="2062" y="435"/>
                  </a:lnTo>
                  <a:lnTo>
                    <a:pt x="2066" y="438"/>
                  </a:lnTo>
                  <a:lnTo>
                    <a:pt x="2072" y="439"/>
                  </a:lnTo>
                  <a:lnTo>
                    <a:pt x="2077" y="438"/>
                  </a:lnTo>
                  <a:lnTo>
                    <a:pt x="2086" y="430"/>
                  </a:lnTo>
                  <a:lnTo>
                    <a:pt x="2093" y="425"/>
                  </a:lnTo>
                  <a:lnTo>
                    <a:pt x="2102" y="421"/>
                  </a:lnTo>
                  <a:lnTo>
                    <a:pt x="2112" y="419"/>
                  </a:lnTo>
                  <a:lnTo>
                    <a:pt x="2121" y="417"/>
                  </a:lnTo>
                  <a:lnTo>
                    <a:pt x="2127" y="418"/>
                  </a:lnTo>
                  <a:lnTo>
                    <a:pt x="2133" y="421"/>
                  </a:lnTo>
                  <a:lnTo>
                    <a:pt x="2134" y="424"/>
                  </a:lnTo>
                  <a:lnTo>
                    <a:pt x="2135" y="426"/>
                  </a:lnTo>
                  <a:lnTo>
                    <a:pt x="2136" y="433"/>
                  </a:lnTo>
                  <a:lnTo>
                    <a:pt x="2136" y="439"/>
                  </a:lnTo>
                  <a:lnTo>
                    <a:pt x="2139" y="444"/>
                  </a:lnTo>
                  <a:lnTo>
                    <a:pt x="2143" y="448"/>
                  </a:lnTo>
                  <a:lnTo>
                    <a:pt x="2147" y="450"/>
                  </a:lnTo>
                  <a:lnTo>
                    <a:pt x="2152" y="449"/>
                  </a:lnTo>
                  <a:lnTo>
                    <a:pt x="2159" y="446"/>
                  </a:lnTo>
                  <a:lnTo>
                    <a:pt x="2165" y="440"/>
                  </a:lnTo>
                  <a:lnTo>
                    <a:pt x="2173" y="431"/>
                  </a:lnTo>
                  <a:lnTo>
                    <a:pt x="2182" y="421"/>
                  </a:lnTo>
                  <a:lnTo>
                    <a:pt x="2203" y="397"/>
                  </a:lnTo>
                  <a:lnTo>
                    <a:pt x="2212" y="388"/>
                  </a:lnTo>
                  <a:lnTo>
                    <a:pt x="2222" y="382"/>
                  </a:lnTo>
                  <a:lnTo>
                    <a:pt x="2226" y="381"/>
                  </a:lnTo>
                  <a:lnTo>
                    <a:pt x="2231" y="382"/>
                  </a:lnTo>
                  <a:lnTo>
                    <a:pt x="2235" y="383"/>
                  </a:lnTo>
                  <a:lnTo>
                    <a:pt x="2238" y="386"/>
                  </a:lnTo>
                  <a:lnTo>
                    <a:pt x="2244" y="395"/>
                  </a:lnTo>
                  <a:lnTo>
                    <a:pt x="2248" y="401"/>
                  </a:lnTo>
                  <a:lnTo>
                    <a:pt x="2248" y="407"/>
                  </a:lnTo>
                  <a:lnTo>
                    <a:pt x="2248" y="410"/>
                  </a:lnTo>
                  <a:lnTo>
                    <a:pt x="2244" y="414"/>
                  </a:lnTo>
                  <a:lnTo>
                    <a:pt x="2239" y="419"/>
                  </a:lnTo>
                  <a:lnTo>
                    <a:pt x="2235" y="424"/>
                  </a:lnTo>
                  <a:lnTo>
                    <a:pt x="2229" y="430"/>
                  </a:lnTo>
                  <a:lnTo>
                    <a:pt x="2222" y="437"/>
                  </a:lnTo>
                  <a:lnTo>
                    <a:pt x="2213" y="444"/>
                  </a:lnTo>
                  <a:lnTo>
                    <a:pt x="2203" y="451"/>
                  </a:lnTo>
                  <a:lnTo>
                    <a:pt x="2193" y="458"/>
                  </a:lnTo>
                  <a:lnTo>
                    <a:pt x="2184" y="465"/>
                  </a:lnTo>
                  <a:lnTo>
                    <a:pt x="2178" y="471"/>
                  </a:lnTo>
                  <a:lnTo>
                    <a:pt x="2173" y="478"/>
                  </a:lnTo>
                  <a:lnTo>
                    <a:pt x="2173" y="481"/>
                  </a:lnTo>
                  <a:lnTo>
                    <a:pt x="2174" y="485"/>
                  </a:lnTo>
                  <a:lnTo>
                    <a:pt x="2178" y="494"/>
                  </a:lnTo>
                  <a:lnTo>
                    <a:pt x="2179" y="506"/>
                  </a:lnTo>
                  <a:lnTo>
                    <a:pt x="2181" y="520"/>
                  </a:lnTo>
                  <a:lnTo>
                    <a:pt x="2183" y="534"/>
                  </a:lnTo>
                  <a:lnTo>
                    <a:pt x="2185" y="547"/>
                  </a:lnTo>
                  <a:lnTo>
                    <a:pt x="2188" y="559"/>
                  </a:lnTo>
                  <a:lnTo>
                    <a:pt x="2193" y="568"/>
                  </a:lnTo>
                  <a:lnTo>
                    <a:pt x="2196" y="570"/>
                  </a:lnTo>
                  <a:lnTo>
                    <a:pt x="2199" y="572"/>
                  </a:lnTo>
                  <a:lnTo>
                    <a:pt x="2208" y="572"/>
                  </a:lnTo>
                  <a:lnTo>
                    <a:pt x="2216" y="568"/>
                  </a:lnTo>
                  <a:lnTo>
                    <a:pt x="2226" y="562"/>
                  </a:lnTo>
                  <a:lnTo>
                    <a:pt x="2236" y="552"/>
                  </a:lnTo>
                  <a:lnTo>
                    <a:pt x="2254" y="534"/>
                  </a:lnTo>
                  <a:lnTo>
                    <a:pt x="2259" y="529"/>
                  </a:lnTo>
                  <a:lnTo>
                    <a:pt x="2269" y="519"/>
                  </a:lnTo>
                  <a:lnTo>
                    <a:pt x="2275" y="512"/>
                  </a:lnTo>
                  <a:lnTo>
                    <a:pt x="2280" y="505"/>
                  </a:lnTo>
                  <a:lnTo>
                    <a:pt x="2287" y="487"/>
                  </a:lnTo>
                  <a:lnTo>
                    <a:pt x="2292" y="469"/>
                  </a:lnTo>
                  <a:lnTo>
                    <a:pt x="2293" y="461"/>
                  </a:lnTo>
                  <a:lnTo>
                    <a:pt x="2293" y="454"/>
                  </a:lnTo>
                  <a:lnTo>
                    <a:pt x="2294" y="449"/>
                  </a:lnTo>
                  <a:lnTo>
                    <a:pt x="2296" y="444"/>
                  </a:lnTo>
                  <a:lnTo>
                    <a:pt x="2299" y="438"/>
                  </a:lnTo>
                  <a:lnTo>
                    <a:pt x="2305" y="434"/>
                  </a:lnTo>
                  <a:lnTo>
                    <a:pt x="2312" y="429"/>
                  </a:lnTo>
                  <a:lnTo>
                    <a:pt x="2322" y="425"/>
                  </a:lnTo>
                  <a:lnTo>
                    <a:pt x="2332" y="420"/>
                  </a:lnTo>
                  <a:lnTo>
                    <a:pt x="2344" y="416"/>
                  </a:lnTo>
                  <a:lnTo>
                    <a:pt x="2359" y="412"/>
                  </a:lnTo>
                  <a:lnTo>
                    <a:pt x="2375" y="408"/>
                  </a:lnTo>
                  <a:lnTo>
                    <a:pt x="2394" y="403"/>
                  </a:lnTo>
                  <a:lnTo>
                    <a:pt x="2412" y="397"/>
                  </a:lnTo>
                  <a:lnTo>
                    <a:pt x="2430" y="392"/>
                  </a:lnTo>
                  <a:lnTo>
                    <a:pt x="2445" y="385"/>
                  </a:lnTo>
                  <a:lnTo>
                    <a:pt x="2456" y="379"/>
                  </a:lnTo>
                  <a:lnTo>
                    <a:pt x="2460" y="375"/>
                  </a:lnTo>
                  <a:lnTo>
                    <a:pt x="2463" y="371"/>
                  </a:lnTo>
                  <a:lnTo>
                    <a:pt x="2469" y="361"/>
                  </a:lnTo>
                  <a:lnTo>
                    <a:pt x="2477" y="350"/>
                  </a:lnTo>
                  <a:lnTo>
                    <a:pt x="2488" y="338"/>
                  </a:lnTo>
                  <a:lnTo>
                    <a:pt x="2502" y="323"/>
                  </a:lnTo>
                  <a:lnTo>
                    <a:pt x="2500" y="323"/>
                  </a:lnTo>
                  <a:lnTo>
                    <a:pt x="2559" y="367"/>
                  </a:lnTo>
                  <a:lnTo>
                    <a:pt x="2561" y="368"/>
                  </a:lnTo>
                  <a:lnTo>
                    <a:pt x="2563" y="364"/>
                  </a:lnTo>
                  <a:lnTo>
                    <a:pt x="2565" y="358"/>
                  </a:lnTo>
                  <a:lnTo>
                    <a:pt x="2570" y="346"/>
                  </a:lnTo>
                  <a:lnTo>
                    <a:pt x="2575" y="332"/>
                  </a:lnTo>
                  <a:lnTo>
                    <a:pt x="2581" y="317"/>
                  </a:lnTo>
                  <a:lnTo>
                    <a:pt x="2585" y="303"/>
                  </a:lnTo>
                  <a:lnTo>
                    <a:pt x="2588" y="290"/>
                  </a:lnTo>
                  <a:lnTo>
                    <a:pt x="2588" y="281"/>
                  </a:lnTo>
                  <a:lnTo>
                    <a:pt x="2587" y="277"/>
                  </a:lnTo>
                  <a:lnTo>
                    <a:pt x="2585" y="274"/>
                  </a:lnTo>
                  <a:lnTo>
                    <a:pt x="2581" y="271"/>
                  </a:lnTo>
                  <a:lnTo>
                    <a:pt x="2576" y="271"/>
                  </a:lnTo>
                  <a:lnTo>
                    <a:pt x="2571" y="270"/>
                  </a:lnTo>
                  <a:lnTo>
                    <a:pt x="2564" y="271"/>
                  </a:lnTo>
                  <a:lnTo>
                    <a:pt x="2556" y="271"/>
                  </a:lnTo>
                  <a:lnTo>
                    <a:pt x="2547" y="273"/>
                  </a:lnTo>
                  <a:lnTo>
                    <a:pt x="2537" y="277"/>
                  </a:lnTo>
                  <a:lnTo>
                    <a:pt x="2526" y="280"/>
                  </a:lnTo>
                  <a:lnTo>
                    <a:pt x="2510" y="276"/>
                  </a:lnTo>
                  <a:lnTo>
                    <a:pt x="2496" y="271"/>
                  </a:lnTo>
                  <a:lnTo>
                    <a:pt x="2485" y="263"/>
                  </a:lnTo>
                  <a:lnTo>
                    <a:pt x="2469" y="247"/>
                  </a:lnTo>
                  <a:lnTo>
                    <a:pt x="2458" y="239"/>
                  </a:lnTo>
                  <a:lnTo>
                    <a:pt x="2445" y="231"/>
                  </a:lnTo>
                  <a:lnTo>
                    <a:pt x="2431" y="226"/>
                  </a:lnTo>
                  <a:lnTo>
                    <a:pt x="2417" y="221"/>
                  </a:lnTo>
                  <a:lnTo>
                    <a:pt x="2405" y="220"/>
                  </a:lnTo>
                  <a:lnTo>
                    <a:pt x="2399" y="220"/>
                  </a:lnTo>
                  <a:lnTo>
                    <a:pt x="2394" y="220"/>
                  </a:lnTo>
                  <a:lnTo>
                    <a:pt x="2391" y="223"/>
                  </a:lnTo>
                  <a:lnTo>
                    <a:pt x="2388" y="226"/>
                  </a:lnTo>
                  <a:lnTo>
                    <a:pt x="2386" y="229"/>
                  </a:lnTo>
                  <a:lnTo>
                    <a:pt x="2382" y="232"/>
                  </a:lnTo>
                  <a:lnTo>
                    <a:pt x="2377" y="235"/>
                  </a:lnTo>
                  <a:lnTo>
                    <a:pt x="2370" y="237"/>
                  </a:lnTo>
                  <a:lnTo>
                    <a:pt x="2356" y="241"/>
                  </a:lnTo>
                  <a:lnTo>
                    <a:pt x="2338" y="242"/>
                  </a:lnTo>
                  <a:lnTo>
                    <a:pt x="2318" y="241"/>
                  </a:lnTo>
                  <a:lnTo>
                    <a:pt x="2296" y="237"/>
                  </a:lnTo>
                  <a:lnTo>
                    <a:pt x="2275" y="232"/>
                  </a:lnTo>
                  <a:lnTo>
                    <a:pt x="2254" y="226"/>
                  </a:lnTo>
                  <a:lnTo>
                    <a:pt x="2232" y="217"/>
                  </a:lnTo>
                  <a:lnTo>
                    <a:pt x="2208" y="205"/>
                  </a:lnTo>
                  <a:lnTo>
                    <a:pt x="2181" y="192"/>
                  </a:lnTo>
                  <a:lnTo>
                    <a:pt x="2156" y="180"/>
                  </a:lnTo>
                  <a:lnTo>
                    <a:pt x="2131" y="168"/>
                  </a:lnTo>
                  <a:lnTo>
                    <a:pt x="2108" y="158"/>
                  </a:lnTo>
                  <a:lnTo>
                    <a:pt x="2099" y="156"/>
                  </a:lnTo>
                  <a:lnTo>
                    <a:pt x="2090" y="153"/>
                  </a:lnTo>
                  <a:lnTo>
                    <a:pt x="2082" y="152"/>
                  </a:lnTo>
                  <a:lnTo>
                    <a:pt x="2076" y="152"/>
                  </a:lnTo>
                  <a:lnTo>
                    <a:pt x="2070" y="153"/>
                  </a:lnTo>
                  <a:lnTo>
                    <a:pt x="2066" y="152"/>
                  </a:lnTo>
                  <a:lnTo>
                    <a:pt x="2059" y="148"/>
                  </a:lnTo>
                  <a:lnTo>
                    <a:pt x="2050" y="135"/>
                  </a:lnTo>
                  <a:lnTo>
                    <a:pt x="2043" y="129"/>
                  </a:lnTo>
                  <a:lnTo>
                    <a:pt x="2035" y="125"/>
                  </a:lnTo>
                  <a:lnTo>
                    <a:pt x="2031" y="124"/>
                  </a:lnTo>
                  <a:lnTo>
                    <a:pt x="2025" y="124"/>
                  </a:lnTo>
                  <a:lnTo>
                    <a:pt x="2019" y="126"/>
                  </a:lnTo>
                  <a:lnTo>
                    <a:pt x="2011" y="129"/>
                  </a:lnTo>
                  <a:lnTo>
                    <a:pt x="1993" y="137"/>
                  </a:lnTo>
                  <a:lnTo>
                    <a:pt x="1976" y="146"/>
                  </a:lnTo>
                  <a:lnTo>
                    <a:pt x="1957" y="155"/>
                  </a:lnTo>
                  <a:lnTo>
                    <a:pt x="1936" y="162"/>
                  </a:lnTo>
                  <a:lnTo>
                    <a:pt x="1915" y="168"/>
                  </a:lnTo>
                  <a:lnTo>
                    <a:pt x="1892" y="171"/>
                  </a:lnTo>
                  <a:lnTo>
                    <a:pt x="1880" y="171"/>
                  </a:lnTo>
                  <a:lnTo>
                    <a:pt x="1868" y="169"/>
                  </a:lnTo>
                  <a:lnTo>
                    <a:pt x="1856" y="167"/>
                  </a:lnTo>
                  <a:lnTo>
                    <a:pt x="1843" y="163"/>
                  </a:lnTo>
                  <a:lnTo>
                    <a:pt x="1790" y="144"/>
                  </a:lnTo>
                  <a:lnTo>
                    <a:pt x="1763" y="135"/>
                  </a:lnTo>
                  <a:lnTo>
                    <a:pt x="1738" y="128"/>
                  </a:lnTo>
                  <a:lnTo>
                    <a:pt x="1714" y="123"/>
                  </a:lnTo>
                  <a:lnTo>
                    <a:pt x="1690" y="120"/>
                  </a:lnTo>
                  <a:lnTo>
                    <a:pt x="1671" y="120"/>
                  </a:lnTo>
                  <a:lnTo>
                    <a:pt x="1663" y="122"/>
                  </a:lnTo>
                  <a:lnTo>
                    <a:pt x="1655" y="124"/>
                  </a:lnTo>
                  <a:lnTo>
                    <a:pt x="1644" y="128"/>
                  </a:lnTo>
                  <a:lnTo>
                    <a:pt x="1632" y="130"/>
                  </a:lnTo>
                  <a:lnTo>
                    <a:pt x="1620" y="133"/>
                  </a:lnTo>
                  <a:lnTo>
                    <a:pt x="1606" y="136"/>
                  </a:lnTo>
                  <a:lnTo>
                    <a:pt x="1592" y="138"/>
                  </a:lnTo>
                  <a:lnTo>
                    <a:pt x="1576" y="140"/>
                  </a:lnTo>
                  <a:lnTo>
                    <a:pt x="1559" y="141"/>
                  </a:lnTo>
                  <a:lnTo>
                    <a:pt x="1541" y="143"/>
                  </a:lnTo>
                  <a:lnTo>
                    <a:pt x="1548" y="138"/>
                  </a:lnTo>
                  <a:lnTo>
                    <a:pt x="1554" y="132"/>
                  </a:lnTo>
                  <a:lnTo>
                    <a:pt x="1557" y="127"/>
                  </a:lnTo>
                  <a:lnTo>
                    <a:pt x="1560" y="120"/>
                  </a:lnTo>
                  <a:lnTo>
                    <a:pt x="1561" y="113"/>
                  </a:lnTo>
                  <a:lnTo>
                    <a:pt x="1561" y="106"/>
                  </a:lnTo>
                  <a:lnTo>
                    <a:pt x="1559" y="98"/>
                  </a:lnTo>
                  <a:lnTo>
                    <a:pt x="1556" y="88"/>
                  </a:lnTo>
                  <a:lnTo>
                    <a:pt x="1555" y="88"/>
                  </a:lnTo>
                  <a:lnTo>
                    <a:pt x="1600" y="73"/>
                  </a:lnTo>
                  <a:lnTo>
                    <a:pt x="1600" y="75"/>
                  </a:lnTo>
                  <a:lnTo>
                    <a:pt x="1582" y="63"/>
                  </a:lnTo>
                  <a:lnTo>
                    <a:pt x="1564" y="49"/>
                  </a:lnTo>
                  <a:lnTo>
                    <a:pt x="1548" y="35"/>
                  </a:lnTo>
                  <a:lnTo>
                    <a:pt x="1531" y="22"/>
                  </a:lnTo>
                  <a:lnTo>
                    <a:pt x="1517" y="11"/>
                  </a:lnTo>
                  <a:lnTo>
                    <a:pt x="1503" y="3"/>
                  </a:lnTo>
                  <a:lnTo>
                    <a:pt x="1497" y="1"/>
                  </a:lnTo>
                  <a:lnTo>
                    <a:pt x="1491" y="0"/>
                  </a:lnTo>
                  <a:lnTo>
                    <a:pt x="1485" y="0"/>
                  </a:lnTo>
                  <a:lnTo>
                    <a:pt x="1481" y="3"/>
                  </a:lnTo>
                  <a:lnTo>
                    <a:pt x="1462" y="16"/>
                  </a:lnTo>
                  <a:lnTo>
                    <a:pt x="1453" y="23"/>
                  </a:lnTo>
                  <a:lnTo>
                    <a:pt x="1444" y="31"/>
                  </a:lnTo>
                  <a:lnTo>
                    <a:pt x="1428" y="44"/>
                  </a:lnTo>
                  <a:lnTo>
                    <a:pt x="1420" y="50"/>
                  </a:lnTo>
                  <a:lnTo>
                    <a:pt x="1412" y="55"/>
                  </a:lnTo>
                  <a:lnTo>
                    <a:pt x="1408" y="57"/>
                  </a:lnTo>
                  <a:lnTo>
                    <a:pt x="1405" y="57"/>
                  </a:lnTo>
                  <a:lnTo>
                    <a:pt x="1399" y="54"/>
                  </a:lnTo>
                  <a:lnTo>
                    <a:pt x="1395" y="49"/>
                  </a:lnTo>
                  <a:lnTo>
                    <a:pt x="1389" y="44"/>
                  </a:lnTo>
                  <a:lnTo>
                    <a:pt x="1383" y="39"/>
                  </a:lnTo>
                  <a:lnTo>
                    <a:pt x="1376" y="36"/>
                  </a:lnTo>
                  <a:lnTo>
                    <a:pt x="1368" y="36"/>
                  </a:lnTo>
                  <a:lnTo>
                    <a:pt x="1363" y="37"/>
                  </a:lnTo>
                  <a:lnTo>
                    <a:pt x="1357" y="41"/>
                  </a:lnTo>
                  <a:lnTo>
                    <a:pt x="1333" y="57"/>
                  </a:lnTo>
                  <a:lnTo>
                    <a:pt x="1307" y="72"/>
                  </a:lnTo>
                  <a:lnTo>
                    <a:pt x="1293" y="80"/>
                  </a:lnTo>
                  <a:lnTo>
                    <a:pt x="1278" y="87"/>
                  </a:lnTo>
                  <a:lnTo>
                    <a:pt x="1263" y="90"/>
                  </a:lnTo>
                  <a:lnTo>
                    <a:pt x="1249" y="94"/>
                  </a:lnTo>
                  <a:lnTo>
                    <a:pt x="1241" y="95"/>
                  </a:lnTo>
                  <a:lnTo>
                    <a:pt x="1236" y="98"/>
                  </a:lnTo>
                  <a:lnTo>
                    <a:pt x="1224" y="106"/>
                  </a:lnTo>
                  <a:lnTo>
                    <a:pt x="1214" y="117"/>
                  </a:lnTo>
                  <a:lnTo>
                    <a:pt x="1205" y="130"/>
                  </a:lnTo>
                  <a:lnTo>
                    <a:pt x="1197" y="144"/>
                  </a:lnTo>
                  <a:lnTo>
                    <a:pt x="1188" y="157"/>
                  </a:lnTo>
                  <a:lnTo>
                    <a:pt x="1180" y="169"/>
                  </a:lnTo>
                  <a:lnTo>
                    <a:pt x="1168" y="178"/>
                  </a:lnTo>
                  <a:lnTo>
                    <a:pt x="1162" y="180"/>
                  </a:lnTo>
                  <a:lnTo>
                    <a:pt x="1154" y="181"/>
                  </a:lnTo>
                  <a:lnTo>
                    <a:pt x="1145" y="180"/>
                  </a:lnTo>
                  <a:lnTo>
                    <a:pt x="1135" y="178"/>
                  </a:lnTo>
                  <a:lnTo>
                    <a:pt x="1123" y="175"/>
                  </a:lnTo>
                  <a:lnTo>
                    <a:pt x="1112" y="172"/>
                  </a:lnTo>
                  <a:lnTo>
                    <a:pt x="1091" y="168"/>
                  </a:lnTo>
                  <a:lnTo>
                    <a:pt x="1078" y="167"/>
                  </a:lnTo>
                  <a:lnTo>
                    <a:pt x="1062" y="168"/>
                  </a:lnTo>
                  <a:lnTo>
                    <a:pt x="1046" y="170"/>
                  </a:lnTo>
                  <a:lnTo>
                    <a:pt x="1028" y="174"/>
                  </a:lnTo>
                  <a:lnTo>
                    <a:pt x="1013" y="180"/>
                  </a:lnTo>
                  <a:lnTo>
                    <a:pt x="999" y="187"/>
                  </a:lnTo>
                  <a:lnTo>
                    <a:pt x="990" y="197"/>
                  </a:lnTo>
                  <a:lnTo>
                    <a:pt x="987" y="201"/>
                  </a:lnTo>
                  <a:lnTo>
                    <a:pt x="985" y="206"/>
                  </a:lnTo>
                  <a:lnTo>
                    <a:pt x="983" y="212"/>
                  </a:lnTo>
                  <a:lnTo>
                    <a:pt x="981" y="216"/>
                  </a:lnTo>
                  <a:lnTo>
                    <a:pt x="972" y="225"/>
                  </a:lnTo>
                  <a:lnTo>
                    <a:pt x="960" y="231"/>
                  </a:lnTo>
                  <a:lnTo>
                    <a:pt x="946" y="237"/>
                  </a:lnTo>
                  <a:lnTo>
                    <a:pt x="932" y="242"/>
                  </a:lnTo>
                  <a:lnTo>
                    <a:pt x="917" y="243"/>
                  </a:lnTo>
                  <a:lnTo>
                    <a:pt x="903" y="245"/>
                  </a:lnTo>
                  <a:lnTo>
                    <a:pt x="892" y="246"/>
                  </a:lnTo>
                  <a:lnTo>
                    <a:pt x="886" y="246"/>
                  </a:lnTo>
                  <a:lnTo>
                    <a:pt x="879" y="245"/>
                  </a:lnTo>
                  <a:lnTo>
                    <a:pt x="863" y="243"/>
                  </a:lnTo>
                  <a:lnTo>
                    <a:pt x="846" y="242"/>
                  </a:lnTo>
                  <a:lnTo>
                    <a:pt x="826" y="242"/>
                  </a:lnTo>
                  <a:lnTo>
                    <a:pt x="808" y="241"/>
                  </a:lnTo>
                  <a:lnTo>
                    <a:pt x="792" y="242"/>
                  </a:lnTo>
                  <a:lnTo>
                    <a:pt x="785" y="243"/>
                  </a:lnTo>
                  <a:lnTo>
                    <a:pt x="779" y="245"/>
                  </a:lnTo>
                  <a:lnTo>
                    <a:pt x="775" y="248"/>
                  </a:lnTo>
                  <a:lnTo>
                    <a:pt x="773" y="251"/>
                  </a:lnTo>
                  <a:lnTo>
                    <a:pt x="766" y="261"/>
                  </a:lnTo>
                  <a:lnTo>
                    <a:pt x="757" y="273"/>
                  </a:lnTo>
                  <a:lnTo>
                    <a:pt x="744" y="288"/>
                  </a:lnTo>
                  <a:lnTo>
                    <a:pt x="728" y="305"/>
                  </a:lnTo>
                  <a:lnTo>
                    <a:pt x="727" y="303"/>
                  </a:lnTo>
                  <a:lnTo>
                    <a:pt x="673" y="298"/>
                  </a:lnTo>
                  <a:lnTo>
                    <a:pt x="675" y="300"/>
                  </a:lnTo>
                  <a:lnTo>
                    <a:pt x="658" y="305"/>
                  </a:lnTo>
                  <a:lnTo>
                    <a:pt x="645" y="310"/>
                  </a:lnTo>
                  <a:lnTo>
                    <a:pt x="634" y="311"/>
                  </a:lnTo>
                  <a:lnTo>
                    <a:pt x="627" y="313"/>
                  </a:lnTo>
                  <a:lnTo>
                    <a:pt x="623" y="312"/>
                  </a:lnTo>
                  <a:lnTo>
                    <a:pt x="621" y="311"/>
                  </a:lnTo>
                  <a:lnTo>
                    <a:pt x="623" y="309"/>
                  </a:lnTo>
                  <a:lnTo>
                    <a:pt x="628" y="305"/>
                  </a:lnTo>
                  <a:lnTo>
                    <a:pt x="632" y="300"/>
                  </a:lnTo>
                  <a:lnTo>
                    <a:pt x="635" y="296"/>
                  </a:lnTo>
                  <a:lnTo>
                    <a:pt x="639" y="285"/>
                  </a:lnTo>
                  <a:lnTo>
                    <a:pt x="639" y="274"/>
                  </a:lnTo>
                  <a:lnTo>
                    <a:pt x="635" y="264"/>
                  </a:lnTo>
                  <a:lnTo>
                    <a:pt x="631" y="254"/>
                  </a:lnTo>
                  <a:lnTo>
                    <a:pt x="624" y="246"/>
                  </a:lnTo>
                  <a:lnTo>
                    <a:pt x="617" y="242"/>
                  </a:lnTo>
                  <a:lnTo>
                    <a:pt x="609" y="242"/>
                  </a:lnTo>
                  <a:lnTo>
                    <a:pt x="600" y="243"/>
                  </a:lnTo>
                  <a:lnTo>
                    <a:pt x="587" y="244"/>
                  </a:lnTo>
                  <a:lnTo>
                    <a:pt x="557" y="245"/>
                  </a:lnTo>
                  <a:lnTo>
                    <a:pt x="543" y="244"/>
                  </a:lnTo>
                  <a:lnTo>
                    <a:pt x="531" y="242"/>
                  </a:lnTo>
                  <a:lnTo>
                    <a:pt x="526" y="240"/>
                  </a:lnTo>
                  <a:lnTo>
                    <a:pt x="523" y="237"/>
                  </a:lnTo>
                  <a:lnTo>
                    <a:pt x="520" y="234"/>
                  </a:lnTo>
                  <a:lnTo>
                    <a:pt x="519" y="231"/>
                  </a:lnTo>
                  <a:lnTo>
                    <a:pt x="518" y="222"/>
                  </a:lnTo>
                  <a:lnTo>
                    <a:pt x="516" y="210"/>
                  </a:lnTo>
                  <a:lnTo>
                    <a:pt x="512" y="197"/>
                  </a:lnTo>
                  <a:lnTo>
                    <a:pt x="507" y="183"/>
                  </a:lnTo>
                  <a:lnTo>
                    <a:pt x="501" y="169"/>
                  </a:lnTo>
                  <a:lnTo>
                    <a:pt x="493" y="157"/>
                  </a:lnTo>
                  <a:lnTo>
                    <a:pt x="485" y="148"/>
                  </a:lnTo>
                  <a:lnTo>
                    <a:pt x="475" y="143"/>
                  </a:lnTo>
                  <a:lnTo>
                    <a:pt x="471" y="142"/>
                  </a:lnTo>
                  <a:lnTo>
                    <a:pt x="465" y="142"/>
                  </a:lnTo>
                  <a:lnTo>
                    <a:pt x="458" y="143"/>
                  </a:lnTo>
                  <a:lnTo>
                    <a:pt x="451" y="146"/>
                  </a:lnTo>
                  <a:lnTo>
                    <a:pt x="436" y="153"/>
                  </a:lnTo>
                  <a:lnTo>
                    <a:pt x="418" y="163"/>
                  </a:lnTo>
                  <a:lnTo>
                    <a:pt x="401" y="174"/>
                  </a:lnTo>
                  <a:lnTo>
                    <a:pt x="385" y="186"/>
                  </a:lnTo>
                  <a:lnTo>
                    <a:pt x="367" y="199"/>
                  </a:lnTo>
                  <a:lnTo>
                    <a:pt x="352" y="211"/>
                  </a:lnTo>
                  <a:lnTo>
                    <a:pt x="335" y="224"/>
                  </a:lnTo>
                  <a:lnTo>
                    <a:pt x="317" y="239"/>
                  </a:lnTo>
                  <a:lnTo>
                    <a:pt x="279" y="271"/>
                  </a:lnTo>
                  <a:lnTo>
                    <a:pt x="260" y="288"/>
                  </a:lnTo>
                  <a:lnTo>
                    <a:pt x="243" y="302"/>
                  </a:lnTo>
                  <a:lnTo>
                    <a:pt x="228" y="314"/>
                  </a:lnTo>
                  <a:lnTo>
                    <a:pt x="222" y="319"/>
                  </a:lnTo>
                  <a:lnTo>
                    <a:pt x="217" y="323"/>
                  </a:lnTo>
                  <a:lnTo>
                    <a:pt x="209" y="331"/>
                  </a:lnTo>
                  <a:lnTo>
                    <a:pt x="202" y="340"/>
                  </a:lnTo>
                  <a:lnTo>
                    <a:pt x="197" y="348"/>
                  </a:lnTo>
                  <a:lnTo>
                    <a:pt x="194" y="357"/>
                  </a:lnTo>
                  <a:lnTo>
                    <a:pt x="192" y="366"/>
                  </a:lnTo>
                  <a:lnTo>
                    <a:pt x="192" y="376"/>
                  </a:lnTo>
                  <a:lnTo>
                    <a:pt x="194" y="385"/>
                  </a:lnTo>
                  <a:lnTo>
                    <a:pt x="198" y="396"/>
                  </a:lnTo>
                  <a:lnTo>
                    <a:pt x="203" y="408"/>
                  </a:lnTo>
                  <a:lnTo>
                    <a:pt x="209" y="421"/>
                  </a:lnTo>
                  <a:lnTo>
                    <a:pt x="221" y="447"/>
                  </a:lnTo>
                  <a:lnTo>
                    <a:pt x="226" y="458"/>
                  </a:lnTo>
                  <a:lnTo>
                    <a:pt x="233" y="466"/>
                  </a:lnTo>
                  <a:lnTo>
                    <a:pt x="240" y="472"/>
                  </a:lnTo>
                  <a:lnTo>
                    <a:pt x="248" y="475"/>
                  </a:lnTo>
                  <a:lnTo>
                    <a:pt x="256" y="474"/>
                  </a:lnTo>
                  <a:lnTo>
                    <a:pt x="267" y="473"/>
                  </a:lnTo>
                  <a:lnTo>
                    <a:pt x="291" y="467"/>
                  </a:lnTo>
                  <a:lnTo>
                    <a:pt x="302" y="464"/>
                  </a:lnTo>
                  <a:lnTo>
                    <a:pt x="313" y="458"/>
                  </a:lnTo>
                  <a:lnTo>
                    <a:pt x="321" y="453"/>
                  </a:lnTo>
                  <a:lnTo>
                    <a:pt x="327" y="445"/>
                  </a:lnTo>
                  <a:lnTo>
                    <a:pt x="331" y="438"/>
                  </a:lnTo>
                  <a:lnTo>
                    <a:pt x="337" y="431"/>
                  </a:lnTo>
                  <a:lnTo>
                    <a:pt x="349" y="418"/>
                  </a:lnTo>
                  <a:lnTo>
                    <a:pt x="354" y="410"/>
                  </a:lnTo>
                  <a:lnTo>
                    <a:pt x="357" y="402"/>
                  </a:lnTo>
                  <a:lnTo>
                    <a:pt x="359" y="392"/>
                  </a:lnTo>
                  <a:lnTo>
                    <a:pt x="356" y="382"/>
                  </a:lnTo>
                  <a:lnTo>
                    <a:pt x="349" y="362"/>
                  </a:lnTo>
                  <a:lnTo>
                    <a:pt x="347" y="353"/>
                  </a:lnTo>
                  <a:lnTo>
                    <a:pt x="345" y="344"/>
                  </a:lnTo>
                  <a:lnTo>
                    <a:pt x="345" y="336"/>
                  </a:lnTo>
                  <a:lnTo>
                    <a:pt x="347" y="328"/>
                  </a:lnTo>
                  <a:lnTo>
                    <a:pt x="350" y="320"/>
                  </a:lnTo>
                  <a:lnTo>
                    <a:pt x="356" y="312"/>
                  </a:lnTo>
                  <a:lnTo>
                    <a:pt x="368" y="303"/>
                  </a:lnTo>
                  <a:lnTo>
                    <a:pt x="383" y="293"/>
                  </a:lnTo>
                  <a:lnTo>
                    <a:pt x="400" y="282"/>
                  </a:lnTo>
                  <a:lnTo>
                    <a:pt x="421" y="270"/>
                  </a:lnTo>
                  <a:lnTo>
                    <a:pt x="428" y="271"/>
                  </a:lnTo>
                  <a:lnTo>
                    <a:pt x="432" y="274"/>
                  </a:lnTo>
                  <a:lnTo>
                    <a:pt x="436" y="281"/>
                  </a:lnTo>
                  <a:lnTo>
                    <a:pt x="436" y="289"/>
                  </a:lnTo>
                  <a:lnTo>
                    <a:pt x="436" y="296"/>
                  </a:lnTo>
                  <a:lnTo>
                    <a:pt x="434" y="300"/>
                  </a:lnTo>
                  <a:lnTo>
                    <a:pt x="430" y="302"/>
                  </a:lnTo>
                  <a:lnTo>
                    <a:pt x="426" y="305"/>
                  </a:lnTo>
                  <a:lnTo>
                    <a:pt x="421" y="306"/>
                  </a:lnTo>
                  <a:lnTo>
                    <a:pt x="414" y="309"/>
                  </a:lnTo>
                  <a:lnTo>
                    <a:pt x="408" y="312"/>
                  </a:lnTo>
                  <a:lnTo>
                    <a:pt x="400" y="318"/>
                  </a:lnTo>
                  <a:lnTo>
                    <a:pt x="395" y="327"/>
                  </a:lnTo>
                  <a:lnTo>
                    <a:pt x="391" y="338"/>
                  </a:lnTo>
                  <a:lnTo>
                    <a:pt x="389" y="349"/>
                  </a:lnTo>
                  <a:lnTo>
                    <a:pt x="390" y="359"/>
                  </a:lnTo>
                  <a:lnTo>
                    <a:pt x="394" y="368"/>
                  </a:lnTo>
                  <a:lnTo>
                    <a:pt x="400" y="377"/>
                  </a:lnTo>
                  <a:lnTo>
                    <a:pt x="409" y="381"/>
                  </a:lnTo>
                  <a:lnTo>
                    <a:pt x="414" y="382"/>
                  </a:lnTo>
                  <a:lnTo>
                    <a:pt x="421" y="382"/>
                  </a:lnTo>
                  <a:lnTo>
                    <a:pt x="435" y="379"/>
                  </a:lnTo>
                  <a:lnTo>
                    <a:pt x="449" y="374"/>
                  </a:lnTo>
                  <a:lnTo>
                    <a:pt x="465" y="368"/>
                  </a:lnTo>
                  <a:lnTo>
                    <a:pt x="480" y="361"/>
                  </a:lnTo>
                  <a:lnTo>
                    <a:pt x="494" y="355"/>
                  </a:lnTo>
                  <a:lnTo>
                    <a:pt x="506" y="351"/>
                  </a:lnTo>
                  <a:lnTo>
                    <a:pt x="517" y="348"/>
                  </a:lnTo>
                  <a:lnTo>
                    <a:pt x="525" y="348"/>
                  </a:lnTo>
                  <a:lnTo>
                    <a:pt x="530" y="351"/>
                  </a:lnTo>
                  <a:lnTo>
                    <a:pt x="537" y="357"/>
                  </a:lnTo>
                  <a:lnTo>
                    <a:pt x="549" y="373"/>
                  </a:lnTo>
                  <a:lnTo>
                    <a:pt x="558" y="390"/>
                  </a:lnTo>
                  <a:lnTo>
                    <a:pt x="562" y="397"/>
                  </a:lnTo>
                  <a:lnTo>
                    <a:pt x="563" y="402"/>
                  </a:lnTo>
                  <a:lnTo>
                    <a:pt x="549" y="403"/>
                  </a:lnTo>
                  <a:lnTo>
                    <a:pt x="534" y="409"/>
                  </a:lnTo>
                  <a:lnTo>
                    <a:pt x="519" y="417"/>
                  </a:lnTo>
                  <a:lnTo>
                    <a:pt x="504" y="430"/>
                  </a:lnTo>
                  <a:lnTo>
                    <a:pt x="484" y="426"/>
                  </a:lnTo>
                  <a:lnTo>
                    <a:pt x="466" y="425"/>
                  </a:lnTo>
                  <a:lnTo>
                    <a:pt x="450" y="424"/>
                  </a:lnTo>
                  <a:lnTo>
                    <a:pt x="438" y="425"/>
                  </a:lnTo>
                  <a:lnTo>
                    <a:pt x="429" y="425"/>
                  </a:lnTo>
                  <a:lnTo>
                    <a:pt x="422" y="427"/>
                  </a:lnTo>
                  <a:lnTo>
                    <a:pt x="417" y="431"/>
                  </a:lnTo>
                  <a:lnTo>
                    <a:pt x="416" y="435"/>
                  </a:lnTo>
                  <a:lnTo>
                    <a:pt x="415" y="443"/>
                  </a:lnTo>
                  <a:lnTo>
                    <a:pt x="413" y="455"/>
                  </a:lnTo>
                  <a:lnTo>
                    <a:pt x="410" y="467"/>
                  </a:lnTo>
                  <a:lnTo>
                    <a:pt x="404" y="481"/>
                  </a:lnTo>
                  <a:lnTo>
                    <a:pt x="397" y="492"/>
                  </a:lnTo>
                  <a:lnTo>
                    <a:pt x="389" y="500"/>
                  </a:lnTo>
                  <a:lnTo>
                    <a:pt x="385" y="503"/>
                  </a:lnTo>
                  <a:lnTo>
                    <a:pt x="378" y="505"/>
                  </a:lnTo>
                  <a:lnTo>
                    <a:pt x="372" y="505"/>
                  </a:lnTo>
                  <a:lnTo>
                    <a:pt x="367" y="504"/>
                  </a:lnTo>
                  <a:lnTo>
                    <a:pt x="359" y="502"/>
                  </a:lnTo>
                  <a:lnTo>
                    <a:pt x="351" y="500"/>
                  </a:lnTo>
                  <a:lnTo>
                    <a:pt x="330" y="499"/>
                  </a:lnTo>
                  <a:lnTo>
                    <a:pt x="308" y="500"/>
                  </a:lnTo>
                  <a:lnTo>
                    <a:pt x="283" y="502"/>
                  </a:lnTo>
                  <a:lnTo>
                    <a:pt x="259" y="508"/>
                  </a:lnTo>
                  <a:lnTo>
                    <a:pt x="238" y="515"/>
                  </a:lnTo>
                  <a:lnTo>
                    <a:pt x="228" y="520"/>
                  </a:lnTo>
                  <a:lnTo>
                    <a:pt x="220" y="525"/>
                  </a:lnTo>
                  <a:lnTo>
                    <a:pt x="213" y="532"/>
                  </a:lnTo>
                  <a:lnTo>
                    <a:pt x="207" y="539"/>
                  </a:lnTo>
                  <a:lnTo>
                    <a:pt x="198" y="551"/>
                  </a:lnTo>
                  <a:lnTo>
                    <a:pt x="189" y="563"/>
                  </a:lnTo>
                  <a:lnTo>
                    <a:pt x="172" y="579"/>
                  </a:lnTo>
                  <a:lnTo>
                    <a:pt x="156" y="594"/>
                  </a:lnTo>
                  <a:lnTo>
                    <a:pt x="150" y="602"/>
                  </a:lnTo>
                  <a:lnTo>
                    <a:pt x="144" y="610"/>
                  </a:lnTo>
                  <a:lnTo>
                    <a:pt x="133" y="631"/>
                  </a:lnTo>
                  <a:lnTo>
                    <a:pt x="122" y="650"/>
                  </a:lnTo>
                  <a:lnTo>
                    <a:pt x="111" y="667"/>
                  </a:lnTo>
                  <a:lnTo>
                    <a:pt x="108" y="675"/>
                  </a:lnTo>
                  <a:lnTo>
                    <a:pt x="104" y="679"/>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 name="Freeform 11">
              <a:extLst>
                <a:ext uri="{FF2B5EF4-FFF2-40B4-BE49-F238E27FC236}">
                  <a16:creationId xmlns:a16="http://schemas.microsoft.com/office/drawing/2014/main" id="{87DFD187-EB35-6108-33FA-490E30766C6E}"/>
                </a:ext>
              </a:extLst>
            </p:cNvPr>
            <p:cNvSpPr>
              <a:spLocks/>
            </p:cNvSpPr>
            <p:nvPr/>
          </p:nvSpPr>
          <p:spPr bwMode="auto">
            <a:xfrm>
              <a:off x="1507" y="1453"/>
              <a:ext cx="201" cy="120"/>
            </a:xfrm>
            <a:custGeom>
              <a:avLst/>
              <a:gdLst>
                <a:gd name="T0" fmla="*/ 30 w 174"/>
                <a:gd name="T1" fmla="*/ 53 h 105"/>
                <a:gd name="T2" fmla="*/ 44 w 174"/>
                <a:gd name="T3" fmla="*/ 50 h 105"/>
                <a:gd name="T4" fmla="*/ 55 w 174"/>
                <a:gd name="T5" fmla="*/ 44 h 105"/>
                <a:gd name="T6" fmla="*/ 66 w 174"/>
                <a:gd name="T7" fmla="*/ 38 h 105"/>
                <a:gd name="T8" fmla="*/ 74 w 174"/>
                <a:gd name="T9" fmla="*/ 31 h 105"/>
                <a:gd name="T10" fmla="*/ 91 w 174"/>
                <a:gd name="T11" fmla="*/ 18 h 105"/>
                <a:gd name="T12" fmla="*/ 99 w 174"/>
                <a:gd name="T13" fmla="*/ 14 h 105"/>
                <a:gd name="T14" fmla="*/ 108 w 174"/>
                <a:gd name="T15" fmla="*/ 12 h 105"/>
                <a:gd name="T16" fmla="*/ 117 w 174"/>
                <a:gd name="T17" fmla="*/ 11 h 105"/>
                <a:gd name="T18" fmla="*/ 126 w 174"/>
                <a:gd name="T19" fmla="*/ 8 h 105"/>
                <a:gd name="T20" fmla="*/ 144 w 174"/>
                <a:gd name="T21" fmla="*/ 2 h 105"/>
                <a:gd name="T22" fmla="*/ 152 w 174"/>
                <a:gd name="T23" fmla="*/ 0 h 105"/>
                <a:gd name="T24" fmla="*/ 160 w 174"/>
                <a:gd name="T25" fmla="*/ 1 h 105"/>
                <a:gd name="T26" fmla="*/ 165 w 174"/>
                <a:gd name="T27" fmla="*/ 4 h 105"/>
                <a:gd name="T28" fmla="*/ 168 w 174"/>
                <a:gd name="T29" fmla="*/ 7 h 105"/>
                <a:gd name="T30" fmla="*/ 170 w 174"/>
                <a:gd name="T31" fmla="*/ 12 h 105"/>
                <a:gd name="T32" fmla="*/ 173 w 174"/>
                <a:gd name="T33" fmla="*/ 22 h 105"/>
                <a:gd name="T34" fmla="*/ 173 w 174"/>
                <a:gd name="T35" fmla="*/ 31 h 105"/>
                <a:gd name="T36" fmla="*/ 171 w 174"/>
                <a:gd name="T37" fmla="*/ 39 h 105"/>
                <a:gd name="T38" fmla="*/ 166 w 174"/>
                <a:gd name="T39" fmla="*/ 45 h 105"/>
                <a:gd name="T40" fmla="*/ 160 w 174"/>
                <a:gd name="T41" fmla="*/ 51 h 105"/>
                <a:gd name="T42" fmla="*/ 151 w 174"/>
                <a:gd name="T43" fmla="*/ 55 h 105"/>
                <a:gd name="T44" fmla="*/ 139 w 174"/>
                <a:gd name="T45" fmla="*/ 56 h 105"/>
                <a:gd name="T46" fmla="*/ 126 w 174"/>
                <a:gd name="T47" fmla="*/ 57 h 105"/>
                <a:gd name="T48" fmla="*/ 113 w 174"/>
                <a:gd name="T49" fmla="*/ 57 h 105"/>
                <a:gd name="T50" fmla="*/ 101 w 174"/>
                <a:gd name="T51" fmla="*/ 58 h 105"/>
                <a:gd name="T52" fmla="*/ 92 w 174"/>
                <a:gd name="T53" fmla="*/ 60 h 105"/>
                <a:gd name="T54" fmla="*/ 82 w 174"/>
                <a:gd name="T55" fmla="*/ 61 h 105"/>
                <a:gd name="T56" fmla="*/ 76 w 174"/>
                <a:gd name="T57" fmla="*/ 64 h 105"/>
                <a:gd name="T58" fmla="*/ 71 w 174"/>
                <a:gd name="T59" fmla="*/ 68 h 105"/>
                <a:gd name="T60" fmla="*/ 66 w 174"/>
                <a:gd name="T61" fmla="*/ 71 h 105"/>
                <a:gd name="T62" fmla="*/ 65 w 174"/>
                <a:gd name="T63" fmla="*/ 77 h 105"/>
                <a:gd name="T64" fmla="*/ 61 w 174"/>
                <a:gd name="T65" fmla="*/ 82 h 105"/>
                <a:gd name="T66" fmla="*/ 56 w 174"/>
                <a:gd name="T67" fmla="*/ 88 h 105"/>
                <a:gd name="T68" fmla="*/ 50 w 174"/>
                <a:gd name="T69" fmla="*/ 94 h 105"/>
                <a:gd name="T70" fmla="*/ 43 w 174"/>
                <a:gd name="T71" fmla="*/ 98 h 105"/>
                <a:gd name="T72" fmla="*/ 35 w 174"/>
                <a:gd name="T73" fmla="*/ 102 h 105"/>
                <a:gd name="T74" fmla="*/ 26 w 174"/>
                <a:gd name="T75" fmla="*/ 104 h 105"/>
                <a:gd name="T76" fmla="*/ 18 w 174"/>
                <a:gd name="T77" fmla="*/ 103 h 105"/>
                <a:gd name="T78" fmla="*/ 10 w 174"/>
                <a:gd name="T79" fmla="*/ 100 h 105"/>
                <a:gd name="T80" fmla="*/ 5 w 174"/>
                <a:gd name="T81" fmla="*/ 94 h 105"/>
                <a:gd name="T82" fmla="*/ 1 w 174"/>
                <a:gd name="T83" fmla="*/ 88 h 105"/>
                <a:gd name="T84" fmla="*/ 0 w 174"/>
                <a:gd name="T85" fmla="*/ 81 h 105"/>
                <a:gd name="T86" fmla="*/ 1 w 174"/>
                <a:gd name="T87" fmla="*/ 73 h 105"/>
                <a:gd name="T88" fmla="*/ 5 w 174"/>
                <a:gd name="T89" fmla="*/ 67 h 105"/>
                <a:gd name="T90" fmla="*/ 10 w 174"/>
                <a:gd name="T91" fmla="*/ 60 h 105"/>
                <a:gd name="T92" fmla="*/ 19 w 174"/>
                <a:gd name="T93" fmla="*/ 56 h 105"/>
                <a:gd name="T94" fmla="*/ 30 w 174"/>
                <a:gd name="T9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4" h="105">
                  <a:moveTo>
                    <a:pt x="30" y="53"/>
                  </a:moveTo>
                  <a:lnTo>
                    <a:pt x="44" y="50"/>
                  </a:lnTo>
                  <a:lnTo>
                    <a:pt x="55" y="44"/>
                  </a:lnTo>
                  <a:lnTo>
                    <a:pt x="66" y="38"/>
                  </a:lnTo>
                  <a:lnTo>
                    <a:pt x="74" y="31"/>
                  </a:lnTo>
                  <a:lnTo>
                    <a:pt x="91" y="18"/>
                  </a:lnTo>
                  <a:lnTo>
                    <a:pt x="99" y="14"/>
                  </a:lnTo>
                  <a:lnTo>
                    <a:pt x="108" y="12"/>
                  </a:lnTo>
                  <a:lnTo>
                    <a:pt x="117" y="11"/>
                  </a:lnTo>
                  <a:lnTo>
                    <a:pt x="126" y="8"/>
                  </a:lnTo>
                  <a:lnTo>
                    <a:pt x="144" y="2"/>
                  </a:lnTo>
                  <a:lnTo>
                    <a:pt x="152" y="0"/>
                  </a:lnTo>
                  <a:lnTo>
                    <a:pt x="160" y="1"/>
                  </a:lnTo>
                  <a:lnTo>
                    <a:pt x="165" y="4"/>
                  </a:lnTo>
                  <a:lnTo>
                    <a:pt x="168" y="7"/>
                  </a:lnTo>
                  <a:lnTo>
                    <a:pt x="170" y="12"/>
                  </a:lnTo>
                  <a:lnTo>
                    <a:pt x="173" y="22"/>
                  </a:lnTo>
                  <a:lnTo>
                    <a:pt x="173" y="31"/>
                  </a:lnTo>
                  <a:lnTo>
                    <a:pt x="171" y="39"/>
                  </a:lnTo>
                  <a:lnTo>
                    <a:pt x="166" y="45"/>
                  </a:lnTo>
                  <a:lnTo>
                    <a:pt x="160" y="51"/>
                  </a:lnTo>
                  <a:lnTo>
                    <a:pt x="151" y="55"/>
                  </a:lnTo>
                  <a:lnTo>
                    <a:pt x="139" y="56"/>
                  </a:lnTo>
                  <a:lnTo>
                    <a:pt x="126" y="57"/>
                  </a:lnTo>
                  <a:lnTo>
                    <a:pt x="113" y="57"/>
                  </a:lnTo>
                  <a:lnTo>
                    <a:pt x="101" y="58"/>
                  </a:lnTo>
                  <a:lnTo>
                    <a:pt x="92" y="60"/>
                  </a:lnTo>
                  <a:lnTo>
                    <a:pt x="82" y="61"/>
                  </a:lnTo>
                  <a:lnTo>
                    <a:pt x="76" y="64"/>
                  </a:lnTo>
                  <a:lnTo>
                    <a:pt x="71" y="68"/>
                  </a:lnTo>
                  <a:lnTo>
                    <a:pt x="66" y="71"/>
                  </a:lnTo>
                  <a:lnTo>
                    <a:pt x="65" y="77"/>
                  </a:lnTo>
                  <a:lnTo>
                    <a:pt x="61" y="82"/>
                  </a:lnTo>
                  <a:lnTo>
                    <a:pt x="56" y="88"/>
                  </a:lnTo>
                  <a:lnTo>
                    <a:pt x="50" y="94"/>
                  </a:lnTo>
                  <a:lnTo>
                    <a:pt x="43" y="98"/>
                  </a:lnTo>
                  <a:lnTo>
                    <a:pt x="35" y="102"/>
                  </a:lnTo>
                  <a:lnTo>
                    <a:pt x="26" y="104"/>
                  </a:lnTo>
                  <a:lnTo>
                    <a:pt x="18" y="103"/>
                  </a:lnTo>
                  <a:lnTo>
                    <a:pt x="10" y="100"/>
                  </a:lnTo>
                  <a:lnTo>
                    <a:pt x="5" y="94"/>
                  </a:lnTo>
                  <a:lnTo>
                    <a:pt x="1" y="88"/>
                  </a:lnTo>
                  <a:lnTo>
                    <a:pt x="0" y="81"/>
                  </a:lnTo>
                  <a:lnTo>
                    <a:pt x="1" y="73"/>
                  </a:lnTo>
                  <a:lnTo>
                    <a:pt x="5" y="67"/>
                  </a:lnTo>
                  <a:lnTo>
                    <a:pt x="10" y="60"/>
                  </a:lnTo>
                  <a:lnTo>
                    <a:pt x="19" y="56"/>
                  </a:lnTo>
                  <a:lnTo>
                    <a:pt x="30" y="53"/>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1" name="Freeform 12">
              <a:extLst>
                <a:ext uri="{FF2B5EF4-FFF2-40B4-BE49-F238E27FC236}">
                  <a16:creationId xmlns:a16="http://schemas.microsoft.com/office/drawing/2014/main" id="{2CB59ADF-1788-B962-87E5-77ECE0121ED9}"/>
                </a:ext>
              </a:extLst>
            </p:cNvPr>
            <p:cNvSpPr>
              <a:spLocks/>
            </p:cNvSpPr>
            <p:nvPr/>
          </p:nvSpPr>
          <p:spPr bwMode="auto">
            <a:xfrm>
              <a:off x="1413" y="1596"/>
              <a:ext cx="63" cy="77"/>
            </a:xfrm>
            <a:custGeom>
              <a:avLst/>
              <a:gdLst>
                <a:gd name="T0" fmla="*/ 44 w 54"/>
                <a:gd name="T1" fmla="*/ 0 h 68"/>
                <a:gd name="T2" fmla="*/ 31 w 54"/>
                <a:gd name="T3" fmla="*/ 6 h 68"/>
                <a:gd name="T4" fmla="*/ 20 w 54"/>
                <a:gd name="T5" fmla="*/ 11 h 68"/>
                <a:gd name="T6" fmla="*/ 12 w 54"/>
                <a:gd name="T7" fmla="*/ 16 h 68"/>
                <a:gd name="T8" fmla="*/ 6 w 54"/>
                <a:gd name="T9" fmla="*/ 20 h 68"/>
                <a:gd name="T10" fmla="*/ 2 w 54"/>
                <a:gd name="T11" fmla="*/ 24 h 68"/>
                <a:gd name="T12" fmla="*/ 0 w 54"/>
                <a:gd name="T13" fmla="*/ 28 h 68"/>
                <a:gd name="T14" fmla="*/ 0 w 54"/>
                <a:gd name="T15" fmla="*/ 31 h 68"/>
                <a:gd name="T16" fmla="*/ 2 w 54"/>
                <a:gd name="T17" fmla="*/ 33 h 68"/>
                <a:gd name="T18" fmla="*/ 8 w 54"/>
                <a:gd name="T19" fmla="*/ 37 h 68"/>
                <a:gd name="T20" fmla="*/ 16 w 54"/>
                <a:gd name="T21" fmla="*/ 44 h 68"/>
                <a:gd name="T22" fmla="*/ 25 w 54"/>
                <a:gd name="T23" fmla="*/ 51 h 68"/>
                <a:gd name="T24" fmla="*/ 33 w 54"/>
                <a:gd name="T25" fmla="*/ 57 h 68"/>
                <a:gd name="T26" fmla="*/ 41 w 54"/>
                <a:gd name="T27" fmla="*/ 64 h 68"/>
                <a:gd name="T28" fmla="*/ 47 w 54"/>
                <a:gd name="T29" fmla="*/ 66 h 68"/>
                <a:gd name="T30" fmla="*/ 49 w 54"/>
                <a:gd name="T31" fmla="*/ 67 h 68"/>
                <a:gd name="T32" fmla="*/ 51 w 54"/>
                <a:gd name="T33" fmla="*/ 65 h 68"/>
                <a:gd name="T34" fmla="*/ 52 w 54"/>
                <a:gd name="T35" fmla="*/ 63 h 68"/>
                <a:gd name="T36" fmla="*/ 53 w 54"/>
                <a:gd name="T37" fmla="*/ 59 h 68"/>
                <a:gd name="T38" fmla="*/ 52 w 54"/>
                <a:gd name="T39" fmla="*/ 47 h 68"/>
                <a:gd name="T40" fmla="*/ 51 w 54"/>
                <a:gd name="T41" fmla="*/ 34 h 68"/>
                <a:gd name="T42" fmla="*/ 47 w 54"/>
                <a:gd name="T43" fmla="*/ 18 h 68"/>
                <a:gd name="T44" fmla="*/ 44 w 54"/>
                <a:gd name="T4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68">
                  <a:moveTo>
                    <a:pt x="44" y="0"/>
                  </a:moveTo>
                  <a:lnTo>
                    <a:pt x="31" y="6"/>
                  </a:lnTo>
                  <a:lnTo>
                    <a:pt x="20" y="11"/>
                  </a:lnTo>
                  <a:lnTo>
                    <a:pt x="12" y="16"/>
                  </a:lnTo>
                  <a:lnTo>
                    <a:pt x="6" y="20"/>
                  </a:lnTo>
                  <a:lnTo>
                    <a:pt x="2" y="24"/>
                  </a:lnTo>
                  <a:lnTo>
                    <a:pt x="0" y="28"/>
                  </a:lnTo>
                  <a:lnTo>
                    <a:pt x="0" y="31"/>
                  </a:lnTo>
                  <a:lnTo>
                    <a:pt x="2" y="33"/>
                  </a:lnTo>
                  <a:lnTo>
                    <a:pt x="8" y="37"/>
                  </a:lnTo>
                  <a:lnTo>
                    <a:pt x="16" y="44"/>
                  </a:lnTo>
                  <a:lnTo>
                    <a:pt x="25" y="51"/>
                  </a:lnTo>
                  <a:lnTo>
                    <a:pt x="33" y="57"/>
                  </a:lnTo>
                  <a:lnTo>
                    <a:pt x="41" y="64"/>
                  </a:lnTo>
                  <a:lnTo>
                    <a:pt x="47" y="66"/>
                  </a:lnTo>
                  <a:lnTo>
                    <a:pt x="49" y="67"/>
                  </a:lnTo>
                  <a:lnTo>
                    <a:pt x="51" y="65"/>
                  </a:lnTo>
                  <a:lnTo>
                    <a:pt x="52" y="63"/>
                  </a:lnTo>
                  <a:lnTo>
                    <a:pt x="53" y="59"/>
                  </a:lnTo>
                  <a:lnTo>
                    <a:pt x="52" y="47"/>
                  </a:lnTo>
                  <a:lnTo>
                    <a:pt x="51" y="34"/>
                  </a:lnTo>
                  <a:lnTo>
                    <a:pt x="47" y="18"/>
                  </a:lnTo>
                  <a:lnTo>
                    <a:pt x="44"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2" name="Freeform 13">
              <a:extLst>
                <a:ext uri="{FF2B5EF4-FFF2-40B4-BE49-F238E27FC236}">
                  <a16:creationId xmlns:a16="http://schemas.microsoft.com/office/drawing/2014/main" id="{3EDB4DB4-AFA5-5BB0-E79E-0D2102C96AFE}"/>
                </a:ext>
              </a:extLst>
            </p:cNvPr>
            <p:cNvSpPr>
              <a:spLocks/>
            </p:cNvSpPr>
            <p:nvPr/>
          </p:nvSpPr>
          <p:spPr bwMode="auto">
            <a:xfrm>
              <a:off x="2378" y="3124"/>
              <a:ext cx="607" cy="462"/>
            </a:xfrm>
            <a:custGeom>
              <a:avLst/>
              <a:gdLst>
                <a:gd name="T0" fmla="*/ 341 w 524"/>
                <a:gd name="T1" fmla="*/ 77 h 406"/>
                <a:gd name="T2" fmla="*/ 305 w 524"/>
                <a:gd name="T3" fmla="*/ 72 h 406"/>
                <a:gd name="T4" fmla="*/ 295 w 524"/>
                <a:gd name="T5" fmla="*/ 67 h 406"/>
                <a:gd name="T6" fmla="*/ 301 w 524"/>
                <a:gd name="T7" fmla="*/ 52 h 406"/>
                <a:gd name="T8" fmla="*/ 311 w 524"/>
                <a:gd name="T9" fmla="*/ 36 h 406"/>
                <a:gd name="T10" fmla="*/ 296 w 524"/>
                <a:gd name="T11" fmla="*/ 23 h 406"/>
                <a:gd name="T12" fmla="*/ 279 w 524"/>
                <a:gd name="T13" fmla="*/ 13 h 406"/>
                <a:gd name="T14" fmla="*/ 263 w 524"/>
                <a:gd name="T15" fmla="*/ 0 h 406"/>
                <a:gd name="T16" fmla="*/ 258 w 524"/>
                <a:gd name="T17" fmla="*/ 9 h 406"/>
                <a:gd name="T18" fmla="*/ 238 w 524"/>
                <a:gd name="T19" fmla="*/ 22 h 406"/>
                <a:gd name="T20" fmla="*/ 207 w 524"/>
                <a:gd name="T21" fmla="*/ 37 h 406"/>
                <a:gd name="T22" fmla="*/ 191 w 524"/>
                <a:gd name="T23" fmla="*/ 47 h 406"/>
                <a:gd name="T24" fmla="*/ 172 w 524"/>
                <a:gd name="T25" fmla="*/ 51 h 406"/>
                <a:gd name="T26" fmla="*/ 143 w 524"/>
                <a:gd name="T27" fmla="*/ 59 h 406"/>
                <a:gd name="T28" fmla="*/ 104 w 524"/>
                <a:gd name="T29" fmla="*/ 91 h 406"/>
                <a:gd name="T30" fmla="*/ 86 w 524"/>
                <a:gd name="T31" fmla="*/ 115 h 406"/>
                <a:gd name="T32" fmla="*/ 45 w 524"/>
                <a:gd name="T33" fmla="*/ 147 h 406"/>
                <a:gd name="T34" fmla="*/ 16 w 524"/>
                <a:gd name="T35" fmla="*/ 156 h 406"/>
                <a:gd name="T36" fmla="*/ 5 w 524"/>
                <a:gd name="T37" fmla="*/ 159 h 406"/>
                <a:gd name="T38" fmla="*/ 2 w 524"/>
                <a:gd name="T39" fmla="*/ 175 h 406"/>
                <a:gd name="T40" fmla="*/ 0 w 524"/>
                <a:gd name="T41" fmla="*/ 225 h 406"/>
                <a:gd name="T42" fmla="*/ 10 w 524"/>
                <a:gd name="T43" fmla="*/ 251 h 406"/>
                <a:gd name="T44" fmla="*/ 28 w 524"/>
                <a:gd name="T45" fmla="*/ 264 h 406"/>
                <a:gd name="T46" fmla="*/ 32 w 524"/>
                <a:gd name="T47" fmla="*/ 276 h 406"/>
                <a:gd name="T48" fmla="*/ 18 w 524"/>
                <a:gd name="T49" fmla="*/ 302 h 406"/>
                <a:gd name="T50" fmla="*/ 15 w 524"/>
                <a:gd name="T51" fmla="*/ 328 h 406"/>
                <a:gd name="T52" fmla="*/ 26 w 524"/>
                <a:gd name="T53" fmla="*/ 341 h 406"/>
                <a:gd name="T54" fmla="*/ 58 w 524"/>
                <a:gd name="T55" fmla="*/ 348 h 406"/>
                <a:gd name="T56" fmla="*/ 91 w 524"/>
                <a:gd name="T57" fmla="*/ 341 h 406"/>
                <a:gd name="T58" fmla="*/ 150 w 524"/>
                <a:gd name="T59" fmla="*/ 321 h 406"/>
                <a:gd name="T60" fmla="*/ 200 w 524"/>
                <a:gd name="T61" fmla="*/ 308 h 406"/>
                <a:gd name="T62" fmla="*/ 251 w 524"/>
                <a:gd name="T63" fmla="*/ 306 h 406"/>
                <a:gd name="T64" fmla="*/ 295 w 524"/>
                <a:gd name="T65" fmla="*/ 319 h 406"/>
                <a:gd name="T66" fmla="*/ 336 w 524"/>
                <a:gd name="T67" fmla="*/ 356 h 406"/>
                <a:gd name="T68" fmla="*/ 363 w 524"/>
                <a:gd name="T69" fmla="*/ 394 h 406"/>
                <a:gd name="T70" fmla="*/ 381 w 524"/>
                <a:gd name="T71" fmla="*/ 403 h 406"/>
                <a:gd name="T72" fmla="*/ 424 w 524"/>
                <a:gd name="T73" fmla="*/ 402 h 406"/>
                <a:gd name="T74" fmla="*/ 447 w 524"/>
                <a:gd name="T75" fmla="*/ 394 h 406"/>
                <a:gd name="T76" fmla="*/ 453 w 524"/>
                <a:gd name="T77" fmla="*/ 379 h 406"/>
                <a:gd name="T78" fmla="*/ 469 w 524"/>
                <a:gd name="T79" fmla="*/ 338 h 406"/>
                <a:gd name="T80" fmla="*/ 477 w 524"/>
                <a:gd name="T81" fmla="*/ 323 h 406"/>
                <a:gd name="T82" fmla="*/ 502 w 524"/>
                <a:gd name="T83" fmla="*/ 289 h 406"/>
                <a:gd name="T84" fmla="*/ 507 w 524"/>
                <a:gd name="T85" fmla="*/ 271 h 406"/>
                <a:gd name="T86" fmla="*/ 519 w 524"/>
                <a:gd name="T87" fmla="*/ 241 h 406"/>
                <a:gd name="T88" fmla="*/ 517 w 524"/>
                <a:gd name="T89" fmla="*/ 211 h 406"/>
                <a:gd name="T90" fmla="*/ 484 w 524"/>
                <a:gd name="T91" fmla="*/ 179 h 406"/>
                <a:gd name="T92" fmla="*/ 460 w 524"/>
                <a:gd name="T93" fmla="*/ 156 h 406"/>
                <a:gd name="T94" fmla="*/ 429 w 524"/>
                <a:gd name="T95" fmla="*/ 119 h 406"/>
                <a:gd name="T96" fmla="*/ 420 w 524"/>
                <a:gd name="T97" fmla="*/ 86 h 406"/>
                <a:gd name="T98" fmla="*/ 414 w 524"/>
                <a:gd name="T99" fmla="*/ 44 h 406"/>
                <a:gd name="T100" fmla="*/ 393 w 524"/>
                <a:gd name="T101" fmla="*/ 14 h 406"/>
                <a:gd name="T102" fmla="*/ 380 w 524"/>
                <a:gd name="T103" fmla="*/ 19 h 406"/>
                <a:gd name="T104" fmla="*/ 384 w 524"/>
                <a:gd name="T105" fmla="*/ 65 h 406"/>
                <a:gd name="T106" fmla="*/ 375 w 524"/>
                <a:gd name="T107" fmla="*/ 80 h 406"/>
                <a:gd name="T108" fmla="*/ 368 w 524"/>
                <a:gd name="T109" fmla="*/ 8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4" h="406">
                  <a:moveTo>
                    <a:pt x="368" y="80"/>
                  </a:moveTo>
                  <a:lnTo>
                    <a:pt x="350" y="78"/>
                  </a:lnTo>
                  <a:lnTo>
                    <a:pt x="341" y="77"/>
                  </a:lnTo>
                  <a:lnTo>
                    <a:pt x="330" y="75"/>
                  </a:lnTo>
                  <a:lnTo>
                    <a:pt x="313" y="73"/>
                  </a:lnTo>
                  <a:lnTo>
                    <a:pt x="305" y="72"/>
                  </a:lnTo>
                  <a:lnTo>
                    <a:pt x="300" y="71"/>
                  </a:lnTo>
                  <a:lnTo>
                    <a:pt x="297" y="69"/>
                  </a:lnTo>
                  <a:lnTo>
                    <a:pt x="295" y="67"/>
                  </a:lnTo>
                  <a:lnTo>
                    <a:pt x="295" y="64"/>
                  </a:lnTo>
                  <a:lnTo>
                    <a:pt x="296" y="60"/>
                  </a:lnTo>
                  <a:lnTo>
                    <a:pt x="301" y="52"/>
                  </a:lnTo>
                  <a:lnTo>
                    <a:pt x="309" y="44"/>
                  </a:lnTo>
                  <a:lnTo>
                    <a:pt x="312" y="40"/>
                  </a:lnTo>
                  <a:lnTo>
                    <a:pt x="311" y="36"/>
                  </a:lnTo>
                  <a:lnTo>
                    <a:pt x="308" y="31"/>
                  </a:lnTo>
                  <a:lnTo>
                    <a:pt x="302" y="27"/>
                  </a:lnTo>
                  <a:lnTo>
                    <a:pt x="296" y="23"/>
                  </a:lnTo>
                  <a:lnTo>
                    <a:pt x="289" y="19"/>
                  </a:lnTo>
                  <a:lnTo>
                    <a:pt x="284" y="15"/>
                  </a:lnTo>
                  <a:lnTo>
                    <a:pt x="279" y="13"/>
                  </a:lnTo>
                  <a:lnTo>
                    <a:pt x="268" y="2"/>
                  </a:lnTo>
                  <a:lnTo>
                    <a:pt x="266" y="0"/>
                  </a:lnTo>
                  <a:lnTo>
                    <a:pt x="263" y="0"/>
                  </a:lnTo>
                  <a:lnTo>
                    <a:pt x="262" y="2"/>
                  </a:lnTo>
                  <a:lnTo>
                    <a:pt x="261" y="5"/>
                  </a:lnTo>
                  <a:lnTo>
                    <a:pt x="258" y="9"/>
                  </a:lnTo>
                  <a:lnTo>
                    <a:pt x="253" y="14"/>
                  </a:lnTo>
                  <a:lnTo>
                    <a:pt x="246" y="18"/>
                  </a:lnTo>
                  <a:lnTo>
                    <a:pt x="238" y="22"/>
                  </a:lnTo>
                  <a:lnTo>
                    <a:pt x="220" y="30"/>
                  </a:lnTo>
                  <a:lnTo>
                    <a:pt x="214" y="33"/>
                  </a:lnTo>
                  <a:lnTo>
                    <a:pt x="207" y="37"/>
                  </a:lnTo>
                  <a:lnTo>
                    <a:pt x="202" y="41"/>
                  </a:lnTo>
                  <a:lnTo>
                    <a:pt x="198" y="44"/>
                  </a:lnTo>
                  <a:lnTo>
                    <a:pt x="191" y="47"/>
                  </a:lnTo>
                  <a:lnTo>
                    <a:pt x="184" y="50"/>
                  </a:lnTo>
                  <a:lnTo>
                    <a:pt x="178" y="51"/>
                  </a:lnTo>
                  <a:lnTo>
                    <a:pt x="172" y="51"/>
                  </a:lnTo>
                  <a:lnTo>
                    <a:pt x="163" y="52"/>
                  </a:lnTo>
                  <a:lnTo>
                    <a:pt x="154" y="55"/>
                  </a:lnTo>
                  <a:lnTo>
                    <a:pt x="143" y="59"/>
                  </a:lnTo>
                  <a:lnTo>
                    <a:pt x="132" y="66"/>
                  </a:lnTo>
                  <a:lnTo>
                    <a:pt x="114" y="82"/>
                  </a:lnTo>
                  <a:lnTo>
                    <a:pt x="104" y="91"/>
                  </a:lnTo>
                  <a:lnTo>
                    <a:pt x="98" y="100"/>
                  </a:lnTo>
                  <a:lnTo>
                    <a:pt x="92" y="108"/>
                  </a:lnTo>
                  <a:lnTo>
                    <a:pt x="86" y="115"/>
                  </a:lnTo>
                  <a:lnTo>
                    <a:pt x="73" y="128"/>
                  </a:lnTo>
                  <a:lnTo>
                    <a:pt x="56" y="140"/>
                  </a:lnTo>
                  <a:lnTo>
                    <a:pt x="45" y="147"/>
                  </a:lnTo>
                  <a:lnTo>
                    <a:pt x="34" y="154"/>
                  </a:lnTo>
                  <a:lnTo>
                    <a:pt x="26" y="156"/>
                  </a:lnTo>
                  <a:lnTo>
                    <a:pt x="16" y="156"/>
                  </a:lnTo>
                  <a:lnTo>
                    <a:pt x="14" y="156"/>
                  </a:lnTo>
                  <a:lnTo>
                    <a:pt x="9" y="156"/>
                  </a:lnTo>
                  <a:lnTo>
                    <a:pt x="5" y="159"/>
                  </a:lnTo>
                  <a:lnTo>
                    <a:pt x="3" y="163"/>
                  </a:lnTo>
                  <a:lnTo>
                    <a:pt x="3" y="168"/>
                  </a:lnTo>
                  <a:lnTo>
                    <a:pt x="2" y="175"/>
                  </a:lnTo>
                  <a:lnTo>
                    <a:pt x="1" y="184"/>
                  </a:lnTo>
                  <a:lnTo>
                    <a:pt x="0" y="195"/>
                  </a:lnTo>
                  <a:lnTo>
                    <a:pt x="0" y="225"/>
                  </a:lnTo>
                  <a:lnTo>
                    <a:pt x="2" y="235"/>
                  </a:lnTo>
                  <a:lnTo>
                    <a:pt x="4" y="242"/>
                  </a:lnTo>
                  <a:lnTo>
                    <a:pt x="10" y="251"/>
                  </a:lnTo>
                  <a:lnTo>
                    <a:pt x="19" y="258"/>
                  </a:lnTo>
                  <a:lnTo>
                    <a:pt x="24" y="261"/>
                  </a:lnTo>
                  <a:lnTo>
                    <a:pt x="28" y="264"/>
                  </a:lnTo>
                  <a:lnTo>
                    <a:pt x="30" y="268"/>
                  </a:lnTo>
                  <a:lnTo>
                    <a:pt x="32" y="271"/>
                  </a:lnTo>
                  <a:lnTo>
                    <a:pt x="32" y="276"/>
                  </a:lnTo>
                  <a:lnTo>
                    <a:pt x="30" y="282"/>
                  </a:lnTo>
                  <a:lnTo>
                    <a:pt x="24" y="293"/>
                  </a:lnTo>
                  <a:lnTo>
                    <a:pt x="18" y="302"/>
                  </a:lnTo>
                  <a:lnTo>
                    <a:pt x="15" y="313"/>
                  </a:lnTo>
                  <a:lnTo>
                    <a:pt x="15" y="319"/>
                  </a:lnTo>
                  <a:lnTo>
                    <a:pt x="15" y="328"/>
                  </a:lnTo>
                  <a:lnTo>
                    <a:pt x="16" y="332"/>
                  </a:lnTo>
                  <a:lnTo>
                    <a:pt x="19" y="336"/>
                  </a:lnTo>
                  <a:lnTo>
                    <a:pt x="26" y="341"/>
                  </a:lnTo>
                  <a:lnTo>
                    <a:pt x="35" y="346"/>
                  </a:lnTo>
                  <a:lnTo>
                    <a:pt x="46" y="348"/>
                  </a:lnTo>
                  <a:lnTo>
                    <a:pt x="58" y="348"/>
                  </a:lnTo>
                  <a:lnTo>
                    <a:pt x="71" y="347"/>
                  </a:lnTo>
                  <a:lnTo>
                    <a:pt x="82" y="345"/>
                  </a:lnTo>
                  <a:lnTo>
                    <a:pt x="91" y="341"/>
                  </a:lnTo>
                  <a:lnTo>
                    <a:pt x="108" y="336"/>
                  </a:lnTo>
                  <a:lnTo>
                    <a:pt x="128" y="328"/>
                  </a:lnTo>
                  <a:lnTo>
                    <a:pt x="150" y="321"/>
                  </a:lnTo>
                  <a:lnTo>
                    <a:pt x="172" y="313"/>
                  </a:lnTo>
                  <a:lnTo>
                    <a:pt x="185" y="310"/>
                  </a:lnTo>
                  <a:lnTo>
                    <a:pt x="200" y="308"/>
                  </a:lnTo>
                  <a:lnTo>
                    <a:pt x="216" y="306"/>
                  </a:lnTo>
                  <a:lnTo>
                    <a:pt x="233" y="305"/>
                  </a:lnTo>
                  <a:lnTo>
                    <a:pt x="251" y="306"/>
                  </a:lnTo>
                  <a:lnTo>
                    <a:pt x="267" y="308"/>
                  </a:lnTo>
                  <a:lnTo>
                    <a:pt x="283" y="312"/>
                  </a:lnTo>
                  <a:lnTo>
                    <a:pt x="295" y="319"/>
                  </a:lnTo>
                  <a:lnTo>
                    <a:pt x="306" y="326"/>
                  </a:lnTo>
                  <a:lnTo>
                    <a:pt x="316" y="336"/>
                  </a:lnTo>
                  <a:lnTo>
                    <a:pt x="336" y="356"/>
                  </a:lnTo>
                  <a:lnTo>
                    <a:pt x="352" y="376"/>
                  </a:lnTo>
                  <a:lnTo>
                    <a:pt x="358" y="386"/>
                  </a:lnTo>
                  <a:lnTo>
                    <a:pt x="363" y="394"/>
                  </a:lnTo>
                  <a:lnTo>
                    <a:pt x="367" y="397"/>
                  </a:lnTo>
                  <a:lnTo>
                    <a:pt x="371" y="400"/>
                  </a:lnTo>
                  <a:lnTo>
                    <a:pt x="381" y="403"/>
                  </a:lnTo>
                  <a:lnTo>
                    <a:pt x="395" y="405"/>
                  </a:lnTo>
                  <a:lnTo>
                    <a:pt x="409" y="405"/>
                  </a:lnTo>
                  <a:lnTo>
                    <a:pt x="424" y="402"/>
                  </a:lnTo>
                  <a:lnTo>
                    <a:pt x="436" y="400"/>
                  </a:lnTo>
                  <a:lnTo>
                    <a:pt x="444" y="396"/>
                  </a:lnTo>
                  <a:lnTo>
                    <a:pt x="447" y="394"/>
                  </a:lnTo>
                  <a:lnTo>
                    <a:pt x="449" y="392"/>
                  </a:lnTo>
                  <a:lnTo>
                    <a:pt x="450" y="386"/>
                  </a:lnTo>
                  <a:lnTo>
                    <a:pt x="453" y="379"/>
                  </a:lnTo>
                  <a:lnTo>
                    <a:pt x="460" y="362"/>
                  </a:lnTo>
                  <a:lnTo>
                    <a:pt x="467" y="346"/>
                  </a:lnTo>
                  <a:lnTo>
                    <a:pt x="469" y="338"/>
                  </a:lnTo>
                  <a:lnTo>
                    <a:pt x="471" y="334"/>
                  </a:lnTo>
                  <a:lnTo>
                    <a:pt x="473" y="328"/>
                  </a:lnTo>
                  <a:lnTo>
                    <a:pt x="477" y="323"/>
                  </a:lnTo>
                  <a:lnTo>
                    <a:pt x="489" y="309"/>
                  </a:lnTo>
                  <a:lnTo>
                    <a:pt x="500" y="296"/>
                  </a:lnTo>
                  <a:lnTo>
                    <a:pt x="502" y="289"/>
                  </a:lnTo>
                  <a:lnTo>
                    <a:pt x="504" y="283"/>
                  </a:lnTo>
                  <a:lnTo>
                    <a:pt x="505" y="278"/>
                  </a:lnTo>
                  <a:lnTo>
                    <a:pt x="507" y="271"/>
                  </a:lnTo>
                  <a:lnTo>
                    <a:pt x="509" y="264"/>
                  </a:lnTo>
                  <a:lnTo>
                    <a:pt x="513" y="257"/>
                  </a:lnTo>
                  <a:lnTo>
                    <a:pt x="519" y="241"/>
                  </a:lnTo>
                  <a:lnTo>
                    <a:pt x="523" y="225"/>
                  </a:lnTo>
                  <a:lnTo>
                    <a:pt x="521" y="218"/>
                  </a:lnTo>
                  <a:lnTo>
                    <a:pt x="517" y="211"/>
                  </a:lnTo>
                  <a:lnTo>
                    <a:pt x="510" y="203"/>
                  </a:lnTo>
                  <a:lnTo>
                    <a:pt x="502" y="195"/>
                  </a:lnTo>
                  <a:lnTo>
                    <a:pt x="484" y="179"/>
                  </a:lnTo>
                  <a:lnTo>
                    <a:pt x="475" y="171"/>
                  </a:lnTo>
                  <a:lnTo>
                    <a:pt x="469" y="165"/>
                  </a:lnTo>
                  <a:lnTo>
                    <a:pt x="460" y="156"/>
                  </a:lnTo>
                  <a:lnTo>
                    <a:pt x="453" y="147"/>
                  </a:lnTo>
                  <a:lnTo>
                    <a:pt x="438" y="133"/>
                  </a:lnTo>
                  <a:lnTo>
                    <a:pt x="429" y="119"/>
                  </a:lnTo>
                  <a:lnTo>
                    <a:pt x="425" y="114"/>
                  </a:lnTo>
                  <a:lnTo>
                    <a:pt x="422" y="105"/>
                  </a:lnTo>
                  <a:lnTo>
                    <a:pt x="420" y="86"/>
                  </a:lnTo>
                  <a:lnTo>
                    <a:pt x="417" y="69"/>
                  </a:lnTo>
                  <a:lnTo>
                    <a:pt x="414" y="52"/>
                  </a:lnTo>
                  <a:lnTo>
                    <a:pt x="414" y="44"/>
                  </a:lnTo>
                  <a:lnTo>
                    <a:pt x="410" y="37"/>
                  </a:lnTo>
                  <a:lnTo>
                    <a:pt x="402" y="25"/>
                  </a:lnTo>
                  <a:lnTo>
                    <a:pt x="393" y="14"/>
                  </a:lnTo>
                  <a:lnTo>
                    <a:pt x="384" y="5"/>
                  </a:lnTo>
                  <a:lnTo>
                    <a:pt x="375" y="1"/>
                  </a:lnTo>
                  <a:lnTo>
                    <a:pt x="380" y="19"/>
                  </a:lnTo>
                  <a:lnTo>
                    <a:pt x="383" y="37"/>
                  </a:lnTo>
                  <a:lnTo>
                    <a:pt x="384" y="54"/>
                  </a:lnTo>
                  <a:lnTo>
                    <a:pt x="384" y="65"/>
                  </a:lnTo>
                  <a:lnTo>
                    <a:pt x="383" y="73"/>
                  </a:lnTo>
                  <a:lnTo>
                    <a:pt x="380" y="78"/>
                  </a:lnTo>
                  <a:lnTo>
                    <a:pt x="375" y="80"/>
                  </a:lnTo>
                  <a:lnTo>
                    <a:pt x="368" y="80"/>
                  </a:lnTo>
                  <a:lnTo>
                    <a:pt x="367" y="79"/>
                  </a:lnTo>
                  <a:lnTo>
                    <a:pt x="368" y="8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3" name="Freeform 14">
              <a:extLst>
                <a:ext uri="{FF2B5EF4-FFF2-40B4-BE49-F238E27FC236}">
                  <a16:creationId xmlns:a16="http://schemas.microsoft.com/office/drawing/2014/main" id="{95C1FDFC-D24F-8DE0-68AC-10CB2B44F65D}"/>
                </a:ext>
              </a:extLst>
            </p:cNvPr>
            <p:cNvSpPr>
              <a:spLocks/>
            </p:cNvSpPr>
            <p:nvPr/>
          </p:nvSpPr>
          <p:spPr bwMode="auto">
            <a:xfrm>
              <a:off x="2319" y="2848"/>
              <a:ext cx="119" cy="161"/>
            </a:xfrm>
            <a:custGeom>
              <a:avLst/>
              <a:gdLst>
                <a:gd name="T0" fmla="*/ 31 w 103"/>
                <a:gd name="T1" fmla="*/ 51 h 141"/>
                <a:gd name="T2" fmla="*/ 38 w 103"/>
                <a:gd name="T3" fmla="*/ 47 h 141"/>
                <a:gd name="T4" fmla="*/ 44 w 103"/>
                <a:gd name="T5" fmla="*/ 45 h 141"/>
                <a:gd name="T6" fmla="*/ 53 w 103"/>
                <a:gd name="T7" fmla="*/ 35 h 141"/>
                <a:gd name="T8" fmla="*/ 60 w 103"/>
                <a:gd name="T9" fmla="*/ 26 h 141"/>
                <a:gd name="T10" fmla="*/ 64 w 103"/>
                <a:gd name="T11" fmla="*/ 20 h 141"/>
                <a:gd name="T12" fmla="*/ 68 w 103"/>
                <a:gd name="T13" fmla="*/ 15 h 141"/>
                <a:gd name="T14" fmla="*/ 78 w 103"/>
                <a:gd name="T15" fmla="*/ 4 h 141"/>
                <a:gd name="T16" fmla="*/ 83 w 103"/>
                <a:gd name="T17" fmla="*/ 2 h 141"/>
                <a:gd name="T18" fmla="*/ 88 w 103"/>
                <a:gd name="T19" fmla="*/ 0 h 141"/>
                <a:gd name="T20" fmla="*/ 93 w 103"/>
                <a:gd name="T21" fmla="*/ 0 h 141"/>
                <a:gd name="T22" fmla="*/ 98 w 103"/>
                <a:gd name="T23" fmla="*/ 3 h 141"/>
                <a:gd name="T24" fmla="*/ 101 w 103"/>
                <a:gd name="T25" fmla="*/ 8 h 141"/>
                <a:gd name="T26" fmla="*/ 102 w 103"/>
                <a:gd name="T27" fmla="*/ 18 h 141"/>
                <a:gd name="T28" fmla="*/ 102 w 103"/>
                <a:gd name="T29" fmla="*/ 27 h 141"/>
                <a:gd name="T30" fmla="*/ 102 w 103"/>
                <a:gd name="T31" fmla="*/ 36 h 141"/>
                <a:gd name="T32" fmla="*/ 99 w 103"/>
                <a:gd name="T33" fmla="*/ 50 h 141"/>
                <a:gd name="T34" fmla="*/ 96 w 103"/>
                <a:gd name="T35" fmla="*/ 62 h 141"/>
                <a:gd name="T36" fmla="*/ 96 w 103"/>
                <a:gd name="T37" fmla="*/ 69 h 141"/>
                <a:gd name="T38" fmla="*/ 98 w 103"/>
                <a:gd name="T39" fmla="*/ 75 h 141"/>
                <a:gd name="T40" fmla="*/ 99 w 103"/>
                <a:gd name="T41" fmla="*/ 81 h 141"/>
                <a:gd name="T42" fmla="*/ 99 w 103"/>
                <a:gd name="T43" fmla="*/ 88 h 141"/>
                <a:gd name="T44" fmla="*/ 96 w 103"/>
                <a:gd name="T45" fmla="*/ 94 h 141"/>
                <a:gd name="T46" fmla="*/ 94 w 103"/>
                <a:gd name="T47" fmla="*/ 100 h 141"/>
                <a:gd name="T48" fmla="*/ 90 w 103"/>
                <a:gd name="T49" fmla="*/ 107 h 141"/>
                <a:gd name="T50" fmla="*/ 86 w 103"/>
                <a:gd name="T51" fmla="*/ 112 h 141"/>
                <a:gd name="T52" fmla="*/ 81 w 103"/>
                <a:gd name="T53" fmla="*/ 114 h 141"/>
                <a:gd name="T54" fmla="*/ 76 w 103"/>
                <a:gd name="T55" fmla="*/ 117 h 141"/>
                <a:gd name="T56" fmla="*/ 65 w 103"/>
                <a:gd name="T57" fmla="*/ 119 h 141"/>
                <a:gd name="T58" fmla="*/ 55 w 103"/>
                <a:gd name="T59" fmla="*/ 125 h 141"/>
                <a:gd name="T60" fmla="*/ 47 w 103"/>
                <a:gd name="T61" fmla="*/ 130 h 141"/>
                <a:gd name="T62" fmla="*/ 41 w 103"/>
                <a:gd name="T63" fmla="*/ 137 h 141"/>
                <a:gd name="T64" fmla="*/ 39 w 103"/>
                <a:gd name="T65" fmla="*/ 138 h 141"/>
                <a:gd name="T66" fmla="*/ 35 w 103"/>
                <a:gd name="T67" fmla="*/ 140 h 141"/>
                <a:gd name="T68" fmla="*/ 31 w 103"/>
                <a:gd name="T69" fmla="*/ 140 h 141"/>
                <a:gd name="T70" fmla="*/ 27 w 103"/>
                <a:gd name="T71" fmla="*/ 138 h 141"/>
                <a:gd name="T72" fmla="*/ 22 w 103"/>
                <a:gd name="T73" fmla="*/ 137 h 141"/>
                <a:gd name="T74" fmla="*/ 17 w 103"/>
                <a:gd name="T75" fmla="*/ 133 h 141"/>
                <a:gd name="T76" fmla="*/ 12 w 103"/>
                <a:gd name="T77" fmla="*/ 128 h 141"/>
                <a:gd name="T78" fmla="*/ 7 w 103"/>
                <a:gd name="T79" fmla="*/ 123 h 141"/>
                <a:gd name="T80" fmla="*/ 3 w 103"/>
                <a:gd name="T81" fmla="*/ 116 h 141"/>
                <a:gd name="T82" fmla="*/ 1 w 103"/>
                <a:gd name="T83" fmla="*/ 107 h 141"/>
                <a:gd name="T84" fmla="*/ 0 w 103"/>
                <a:gd name="T85" fmla="*/ 96 h 141"/>
                <a:gd name="T86" fmla="*/ 1 w 103"/>
                <a:gd name="T87" fmla="*/ 85 h 141"/>
                <a:gd name="T88" fmla="*/ 4 w 103"/>
                <a:gd name="T89" fmla="*/ 74 h 141"/>
                <a:gd name="T90" fmla="*/ 10 w 103"/>
                <a:gd name="T91" fmla="*/ 64 h 141"/>
                <a:gd name="T92" fmla="*/ 19 w 103"/>
                <a:gd name="T93" fmla="*/ 56 h 141"/>
                <a:gd name="T94" fmla="*/ 25 w 103"/>
                <a:gd name="T95" fmla="*/ 53 h 141"/>
                <a:gd name="T96" fmla="*/ 31 w 103"/>
                <a:gd name="T97" fmla="*/ 51 h 141"/>
                <a:gd name="T98" fmla="*/ 30 w 103"/>
                <a:gd name="T99" fmla="*/ 51 h 141"/>
                <a:gd name="T100" fmla="*/ 31 w 103"/>
                <a:gd name="T101" fmla="*/ 5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 h="141">
                  <a:moveTo>
                    <a:pt x="31" y="51"/>
                  </a:moveTo>
                  <a:lnTo>
                    <a:pt x="38" y="47"/>
                  </a:lnTo>
                  <a:lnTo>
                    <a:pt x="44" y="45"/>
                  </a:lnTo>
                  <a:lnTo>
                    <a:pt x="53" y="35"/>
                  </a:lnTo>
                  <a:lnTo>
                    <a:pt x="60" y="26"/>
                  </a:lnTo>
                  <a:lnTo>
                    <a:pt x="64" y="20"/>
                  </a:lnTo>
                  <a:lnTo>
                    <a:pt x="68" y="15"/>
                  </a:lnTo>
                  <a:lnTo>
                    <a:pt x="78" y="4"/>
                  </a:lnTo>
                  <a:lnTo>
                    <a:pt x="83" y="2"/>
                  </a:lnTo>
                  <a:lnTo>
                    <a:pt x="88" y="0"/>
                  </a:lnTo>
                  <a:lnTo>
                    <a:pt x="93" y="0"/>
                  </a:lnTo>
                  <a:lnTo>
                    <a:pt x="98" y="3"/>
                  </a:lnTo>
                  <a:lnTo>
                    <a:pt x="101" y="8"/>
                  </a:lnTo>
                  <a:lnTo>
                    <a:pt x="102" y="18"/>
                  </a:lnTo>
                  <a:lnTo>
                    <a:pt x="102" y="27"/>
                  </a:lnTo>
                  <a:lnTo>
                    <a:pt x="102" y="36"/>
                  </a:lnTo>
                  <a:lnTo>
                    <a:pt x="99" y="50"/>
                  </a:lnTo>
                  <a:lnTo>
                    <a:pt x="96" y="62"/>
                  </a:lnTo>
                  <a:lnTo>
                    <a:pt x="96" y="69"/>
                  </a:lnTo>
                  <a:lnTo>
                    <a:pt x="98" y="75"/>
                  </a:lnTo>
                  <a:lnTo>
                    <a:pt x="99" y="81"/>
                  </a:lnTo>
                  <a:lnTo>
                    <a:pt x="99" y="88"/>
                  </a:lnTo>
                  <a:lnTo>
                    <a:pt x="96" y="94"/>
                  </a:lnTo>
                  <a:lnTo>
                    <a:pt x="94" y="100"/>
                  </a:lnTo>
                  <a:lnTo>
                    <a:pt x="90" y="107"/>
                  </a:lnTo>
                  <a:lnTo>
                    <a:pt x="86" y="112"/>
                  </a:lnTo>
                  <a:lnTo>
                    <a:pt x="81" y="114"/>
                  </a:lnTo>
                  <a:lnTo>
                    <a:pt x="76" y="117"/>
                  </a:lnTo>
                  <a:lnTo>
                    <a:pt x="65" y="119"/>
                  </a:lnTo>
                  <a:lnTo>
                    <a:pt x="55" y="125"/>
                  </a:lnTo>
                  <a:lnTo>
                    <a:pt x="47" y="130"/>
                  </a:lnTo>
                  <a:lnTo>
                    <a:pt x="41" y="137"/>
                  </a:lnTo>
                  <a:lnTo>
                    <a:pt x="39" y="138"/>
                  </a:lnTo>
                  <a:lnTo>
                    <a:pt x="35" y="140"/>
                  </a:lnTo>
                  <a:lnTo>
                    <a:pt x="31" y="140"/>
                  </a:lnTo>
                  <a:lnTo>
                    <a:pt x="27" y="138"/>
                  </a:lnTo>
                  <a:lnTo>
                    <a:pt x="22" y="137"/>
                  </a:lnTo>
                  <a:lnTo>
                    <a:pt x="17" y="133"/>
                  </a:lnTo>
                  <a:lnTo>
                    <a:pt x="12" y="128"/>
                  </a:lnTo>
                  <a:lnTo>
                    <a:pt x="7" y="123"/>
                  </a:lnTo>
                  <a:lnTo>
                    <a:pt x="3" y="116"/>
                  </a:lnTo>
                  <a:lnTo>
                    <a:pt x="1" y="107"/>
                  </a:lnTo>
                  <a:lnTo>
                    <a:pt x="0" y="96"/>
                  </a:lnTo>
                  <a:lnTo>
                    <a:pt x="1" y="85"/>
                  </a:lnTo>
                  <a:lnTo>
                    <a:pt x="4" y="74"/>
                  </a:lnTo>
                  <a:lnTo>
                    <a:pt x="10" y="64"/>
                  </a:lnTo>
                  <a:lnTo>
                    <a:pt x="19" y="56"/>
                  </a:lnTo>
                  <a:lnTo>
                    <a:pt x="25" y="53"/>
                  </a:lnTo>
                  <a:lnTo>
                    <a:pt x="31" y="51"/>
                  </a:lnTo>
                  <a:lnTo>
                    <a:pt x="30" y="51"/>
                  </a:lnTo>
                  <a:lnTo>
                    <a:pt x="31" y="51"/>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5" name="Freeform 15">
              <a:extLst>
                <a:ext uri="{FF2B5EF4-FFF2-40B4-BE49-F238E27FC236}">
                  <a16:creationId xmlns:a16="http://schemas.microsoft.com/office/drawing/2014/main" id="{A65063E7-4E64-C50A-63A7-5D84A82011DC}"/>
                </a:ext>
              </a:extLst>
            </p:cNvPr>
            <p:cNvSpPr>
              <a:spLocks/>
            </p:cNvSpPr>
            <p:nvPr/>
          </p:nvSpPr>
          <p:spPr bwMode="auto">
            <a:xfrm>
              <a:off x="2079" y="2933"/>
              <a:ext cx="176" cy="164"/>
            </a:xfrm>
            <a:custGeom>
              <a:avLst/>
              <a:gdLst>
                <a:gd name="T0" fmla="*/ 2 w 152"/>
                <a:gd name="T1" fmla="*/ 2 h 144"/>
                <a:gd name="T2" fmla="*/ 2 w 152"/>
                <a:gd name="T3" fmla="*/ 7 h 144"/>
                <a:gd name="T4" fmla="*/ 4 w 152"/>
                <a:gd name="T5" fmla="*/ 12 h 144"/>
                <a:gd name="T6" fmla="*/ 10 w 152"/>
                <a:gd name="T7" fmla="*/ 15 h 144"/>
                <a:gd name="T8" fmla="*/ 17 w 152"/>
                <a:gd name="T9" fmla="*/ 19 h 144"/>
                <a:gd name="T10" fmla="*/ 33 w 152"/>
                <a:gd name="T11" fmla="*/ 28 h 144"/>
                <a:gd name="T12" fmla="*/ 40 w 152"/>
                <a:gd name="T13" fmla="*/ 33 h 144"/>
                <a:gd name="T14" fmla="*/ 45 w 152"/>
                <a:gd name="T15" fmla="*/ 41 h 144"/>
                <a:gd name="T16" fmla="*/ 48 w 152"/>
                <a:gd name="T17" fmla="*/ 47 h 144"/>
                <a:gd name="T18" fmla="*/ 51 w 152"/>
                <a:gd name="T19" fmla="*/ 53 h 144"/>
                <a:gd name="T20" fmla="*/ 57 w 152"/>
                <a:gd name="T21" fmla="*/ 62 h 144"/>
                <a:gd name="T22" fmla="*/ 63 w 152"/>
                <a:gd name="T23" fmla="*/ 71 h 144"/>
                <a:gd name="T24" fmla="*/ 69 w 152"/>
                <a:gd name="T25" fmla="*/ 81 h 144"/>
                <a:gd name="T26" fmla="*/ 76 w 152"/>
                <a:gd name="T27" fmla="*/ 94 h 144"/>
                <a:gd name="T28" fmla="*/ 85 w 152"/>
                <a:gd name="T29" fmla="*/ 108 h 144"/>
                <a:gd name="T30" fmla="*/ 96 w 152"/>
                <a:gd name="T31" fmla="*/ 123 h 144"/>
                <a:gd name="T32" fmla="*/ 108 w 152"/>
                <a:gd name="T33" fmla="*/ 138 h 144"/>
                <a:gd name="T34" fmla="*/ 112 w 152"/>
                <a:gd name="T35" fmla="*/ 141 h 144"/>
                <a:gd name="T36" fmla="*/ 117 w 152"/>
                <a:gd name="T37" fmla="*/ 143 h 144"/>
                <a:gd name="T38" fmla="*/ 129 w 152"/>
                <a:gd name="T39" fmla="*/ 143 h 144"/>
                <a:gd name="T40" fmla="*/ 141 w 152"/>
                <a:gd name="T41" fmla="*/ 141 h 144"/>
                <a:gd name="T42" fmla="*/ 146 w 152"/>
                <a:gd name="T43" fmla="*/ 138 h 144"/>
                <a:gd name="T44" fmla="*/ 149 w 152"/>
                <a:gd name="T45" fmla="*/ 136 h 144"/>
                <a:gd name="T46" fmla="*/ 151 w 152"/>
                <a:gd name="T47" fmla="*/ 132 h 144"/>
                <a:gd name="T48" fmla="*/ 151 w 152"/>
                <a:gd name="T49" fmla="*/ 126 h 144"/>
                <a:gd name="T50" fmla="*/ 150 w 152"/>
                <a:gd name="T51" fmla="*/ 121 h 144"/>
                <a:gd name="T52" fmla="*/ 149 w 152"/>
                <a:gd name="T53" fmla="*/ 115 h 144"/>
                <a:gd name="T54" fmla="*/ 140 w 152"/>
                <a:gd name="T55" fmla="*/ 102 h 144"/>
                <a:gd name="T56" fmla="*/ 135 w 152"/>
                <a:gd name="T57" fmla="*/ 97 h 144"/>
                <a:gd name="T58" fmla="*/ 131 w 152"/>
                <a:gd name="T59" fmla="*/ 92 h 144"/>
                <a:gd name="T60" fmla="*/ 110 w 152"/>
                <a:gd name="T61" fmla="*/ 80 h 144"/>
                <a:gd name="T62" fmla="*/ 101 w 152"/>
                <a:gd name="T63" fmla="*/ 72 h 144"/>
                <a:gd name="T64" fmla="*/ 92 w 152"/>
                <a:gd name="T65" fmla="*/ 65 h 144"/>
                <a:gd name="T66" fmla="*/ 84 w 152"/>
                <a:gd name="T67" fmla="*/ 56 h 144"/>
                <a:gd name="T68" fmla="*/ 78 w 152"/>
                <a:gd name="T69" fmla="*/ 49 h 144"/>
                <a:gd name="T70" fmla="*/ 71 w 152"/>
                <a:gd name="T71" fmla="*/ 42 h 144"/>
                <a:gd name="T72" fmla="*/ 66 w 152"/>
                <a:gd name="T73" fmla="*/ 35 h 144"/>
                <a:gd name="T74" fmla="*/ 61 w 152"/>
                <a:gd name="T75" fmla="*/ 27 h 144"/>
                <a:gd name="T76" fmla="*/ 53 w 152"/>
                <a:gd name="T77" fmla="*/ 20 h 144"/>
                <a:gd name="T78" fmla="*/ 46 w 152"/>
                <a:gd name="T79" fmla="*/ 15 h 144"/>
                <a:gd name="T80" fmla="*/ 37 w 152"/>
                <a:gd name="T81" fmla="*/ 11 h 144"/>
                <a:gd name="T82" fmla="*/ 33 w 152"/>
                <a:gd name="T83" fmla="*/ 9 h 144"/>
                <a:gd name="T84" fmla="*/ 27 w 152"/>
                <a:gd name="T85" fmla="*/ 7 h 144"/>
                <a:gd name="T86" fmla="*/ 17 w 152"/>
                <a:gd name="T87" fmla="*/ 2 h 144"/>
                <a:gd name="T88" fmla="*/ 12 w 152"/>
                <a:gd name="T89" fmla="*/ 1 h 144"/>
                <a:gd name="T90" fmla="*/ 8 w 152"/>
                <a:gd name="T91" fmla="*/ 0 h 144"/>
                <a:gd name="T92" fmla="*/ 4 w 152"/>
                <a:gd name="T93" fmla="*/ 1 h 144"/>
                <a:gd name="T94" fmla="*/ 2 w 152"/>
                <a:gd name="T95" fmla="*/ 2 h 144"/>
                <a:gd name="T96" fmla="*/ 0 w 152"/>
                <a:gd name="T97" fmla="*/ 1 h 144"/>
                <a:gd name="T98" fmla="*/ 2 w 152"/>
                <a:gd name="T99"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144">
                  <a:moveTo>
                    <a:pt x="2" y="2"/>
                  </a:moveTo>
                  <a:lnTo>
                    <a:pt x="2" y="7"/>
                  </a:lnTo>
                  <a:lnTo>
                    <a:pt x="4" y="12"/>
                  </a:lnTo>
                  <a:lnTo>
                    <a:pt x="10" y="15"/>
                  </a:lnTo>
                  <a:lnTo>
                    <a:pt x="17" y="19"/>
                  </a:lnTo>
                  <a:lnTo>
                    <a:pt x="33" y="28"/>
                  </a:lnTo>
                  <a:lnTo>
                    <a:pt x="40" y="33"/>
                  </a:lnTo>
                  <a:lnTo>
                    <a:pt x="45" y="41"/>
                  </a:lnTo>
                  <a:lnTo>
                    <a:pt x="48" y="47"/>
                  </a:lnTo>
                  <a:lnTo>
                    <a:pt x="51" y="53"/>
                  </a:lnTo>
                  <a:lnTo>
                    <a:pt x="57" y="62"/>
                  </a:lnTo>
                  <a:lnTo>
                    <a:pt x="63" y="71"/>
                  </a:lnTo>
                  <a:lnTo>
                    <a:pt x="69" y="81"/>
                  </a:lnTo>
                  <a:lnTo>
                    <a:pt x="76" y="94"/>
                  </a:lnTo>
                  <a:lnTo>
                    <a:pt x="85" y="108"/>
                  </a:lnTo>
                  <a:lnTo>
                    <a:pt x="96" y="123"/>
                  </a:lnTo>
                  <a:lnTo>
                    <a:pt x="108" y="138"/>
                  </a:lnTo>
                  <a:lnTo>
                    <a:pt x="112" y="141"/>
                  </a:lnTo>
                  <a:lnTo>
                    <a:pt x="117" y="143"/>
                  </a:lnTo>
                  <a:lnTo>
                    <a:pt x="129" y="143"/>
                  </a:lnTo>
                  <a:lnTo>
                    <a:pt x="141" y="141"/>
                  </a:lnTo>
                  <a:lnTo>
                    <a:pt x="146" y="138"/>
                  </a:lnTo>
                  <a:lnTo>
                    <a:pt x="149" y="136"/>
                  </a:lnTo>
                  <a:lnTo>
                    <a:pt x="151" y="132"/>
                  </a:lnTo>
                  <a:lnTo>
                    <a:pt x="151" y="126"/>
                  </a:lnTo>
                  <a:lnTo>
                    <a:pt x="150" y="121"/>
                  </a:lnTo>
                  <a:lnTo>
                    <a:pt x="149" y="115"/>
                  </a:lnTo>
                  <a:lnTo>
                    <a:pt x="140" y="102"/>
                  </a:lnTo>
                  <a:lnTo>
                    <a:pt x="135" y="97"/>
                  </a:lnTo>
                  <a:lnTo>
                    <a:pt x="131" y="92"/>
                  </a:lnTo>
                  <a:lnTo>
                    <a:pt x="110" y="80"/>
                  </a:lnTo>
                  <a:lnTo>
                    <a:pt x="101" y="72"/>
                  </a:lnTo>
                  <a:lnTo>
                    <a:pt x="92" y="65"/>
                  </a:lnTo>
                  <a:lnTo>
                    <a:pt x="84" y="56"/>
                  </a:lnTo>
                  <a:lnTo>
                    <a:pt x="78" y="49"/>
                  </a:lnTo>
                  <a:lnTo>
                    <a:pt x="71" y="42"/>
                  </a:lnTo>
                  <a:lnTo>
                    <a:pt x="66" y="35"/>
                  </a:lnTo>
                  <a:lnTo>
                    <a:pt x="61" y="27"/>
                  </a:lnTo>
                  <a:lnTo>
                    <a:pt x="53" y="20"/>
                  </a:lnTo>
                  <a:lnTo>
                    <a:pt x="46" y="15"/>
                  </a:lnTo>
                  <a:lnTo>
                    <a:pt x="37" y="11"/>
                  </a:lnTo>
                  <a:lnTo>
                    <a:pt x="33" y="9"/>
                  </a:lnTo>
                  <a:lnTo>
                    <a:pt x="27" y="7"/>
                  </a:lnTo>
                  <a:lnTo>
                    <a:pt x="17" y="2"/>
                  </a:lnTo>
                  <a:lnTo>
                    <a:pt x="12" y="1"/>
                  </a:lnTo>
                  <a:lnTo>
                    <a:pt x="8" y="0"/>
                  </a:lnTo>
                  <a:lnTo>
                    <a:pt x="4" y="1"/>
                  </a:lnTo>
                  <a:lnTo>
                    <a:pt x="2" y="2"/>
                  </a:lnTo>
                  <a:lnTo>
                    <a:pt x="0" y="1"/>
                  </a:lnTo>
                  <a:lnTo>
                    <a:pt x="2" y="2"/>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6" name="Freeform 16">
              <a:extLst>
                <a:ext uri="{FF2B5EF4-FFF2-40B4-BE49-F238E27FC236}">
                  <a16:creationId xmlns:a16="http://schemas.microsoft.com/office/drawing/2014/main" id="{C1F71130-A5E5-B327-370B-51A79BEE0EDB}"/>
                </a:ext>
              </a:extLst>
            </p:cNvPr>
            <p:cNvSpPr>
              <a:spLocks/>
            </p:cNvSpPr>
            <p:nvPr/>
          </p:nvSpPr>
          <p:spPr bwMode="auto">
            <a:xfrm>
              <a:off x="2671" y="2988"/>
              <a:ext cx="254" cy="123"/>
            </a:xfrm>
            <a:custGeom>
              <a:avLst/>
              <a:gdLst>
                <a:gd name="T0" fmla="*/ 36 w 219"/>
                <a:gd name="T1" fmla="*/ 5 h 108"/>
                <a:gd name="T2" fmla="*/ 54 w 219"/>
                <a:gd name="T3" fmla="*/ 2 h 108"/>
                <a:gd name="T4" fmla="*/ 71 w 219"/>
                <a:gd name="T5" fmla="*/ 0 h 108"/>
                <a:gd name="T6" fmla="*/ 79 w 219"/>
                <a:gd name="T7" fmla="*/ 0 h 108"/>
                <a:gd name="T8" fmla="*/ 88 w 219"/>
                <a:gd name="T9" fmla="*/ 2 h 108"/>
                <a:gd name="T10" fmla="*/ 96 w 219"/>
                <a:gd name="T11" fmla="*/ 5 h 108"/>
                <a:gd name="T12" fmla="*/ 105 w 219"/>
                <a:gd name="T13" fmla="*/ 10 h 108"/>
                <a:gd name="T14" fmla="*/ 123 w 219"/>
                <a:gd name="T15" fmla="*/ 25 h 108"/>
                <a:gd name="T16" fmla="*/ 140 w 219"/>
                <a:gd name="T17" fmla="*/ 41 h 108"/>
                <a:gd name="T18" fmla="*/ 156 w 219"/>
                <a:gd name="T19" fmla="*/ 55 h 108"/>
                <a:gd name="T20" fmla="*/ 165 w 219"/>
                <a:gd name="T21" fmla="*/ 61 h 108"/>
                <a:gd name="T22" fmla="*/ 174 w 219"/>
                <a:gd name="T23" fmla="*/ 65 h 108"/>
                <a:gd name="T24" fmla="*/ 186 w 219"/>
                <a:gd name="T25" fmla="*/ 71 h 108"/>
                <a:gd name="T26" fmla="*/ 197 w 219"/>
                <a:gd name="T27" fmla="*/ 80 h 108"/>
                <a:gd name="T28" fmla="*/ 207 w 219"/>
                <a:gd name="T29" fmla="*/ 92 h 108"/>
                <a:gd name="T30" fmla="*/ 218 w 219"/>
                <a:gd name="T31" fmla="*/ 107 h 108"/>
                <a:gd name="T32" fmla="*/ 154 w 219"/>
                <a:gd name="T33" fmla="*/ 92 h 108"/>
                <a:gd name="T34" fmla="*/ 114 w 219"/>
                <a:gd name="T35" fmla="*/ 97 h 108"/>
                <a:gd name="T36" fmla="*/ 115 w 219"/>
                <a:gd name="T37" fmla="*/ 99 h 108"/>
                <a:gd name="T38" fmla="*/ 99 w 219"/>
                <a:gd name="T39" fmla="*/ 97 h 108"/>
                <a:gd name="T40" fmla="*/ 85 w 219"/>
                <a:gd name="T41" fmla="*/ 95 h 108"/>
                <a:gd name="T42" fmla="*/ 71 w 219"/>
                <a:gd name="T43" fmla="*/ 92 h 108"/>
                <a:gd name="T44" fmla="*/ 61 w 219"/>
                <a:gd name="T45" fmla="*/ 88 h 108"/>
                <a:gd name="T46" fmla="*/ 50 w 219"/>
                <a:gd name="T47" fmla="*/ 81 h 108"/>
                <a:gd name="T48" fmla="*/ 43 w 219"/>
                <a:gd name="T49" fmla="*/ 75 h 108"/>
                <a:gd name="T50" fmla="*/ 36 w 219"/>
                <a:gd name="T51" fmla="*/ 66 h 108"/>
                <a:gd name="T52" fmla="*/ 32 w 219"/>
                <a:gd name="T53" fmla="*/ 56 h 108"/>
                <a:gd name="T54" fmla="*/ 26 w 219"/>
                <a:gd name="T55" fmla="*/ 47 h 108"/>
                <a:gd name="T56" fmla="*/ 18 w 219"/>
                <a:gd name="T57" fmla="*/ 40 h 108"/>
                <a:gd name="T58" fmla="*/ 9 w 219"/>
                <a:gd name="T59" fmla="*/ 32 h 108"/>
                <a:gd name="T60" fmla="*/ 3 w 219"/>
                <a:gd name="T61" fmla="*/ 25 h 108"/>
                <a:gd name="T62" fmla="*/ 1 w 219"/>
                <a:gd name="T63" fmla="*/ 23 h 108"/>
                <a:gd name="T64" fmla="*/ 0 w 219"/>
                <a:gd name="T65" fmla="*/ 19 h 108"/>
                <a:gd name="T66" fmla="*/ 2 w 219"/>
                <a:gd name="T67" fmla="*/ 16 h 108"/>
                <a:gd name="T68" fmla="*/ 4 w 219"/>
                <a:gd name="T69" fmla="*/ 13 h 108"/>
                <a:gd name="T70" fmla="*/ 9 w 219"/>
                <a:gd name="T71" fmla="*/ 11 h 108"/>
                <a:gd name="T72" fmla="*/ 17 w 219"/>
                <a:gd name="T73" fmla="*/ 9 h 108"/>
                <a:gd name="T74" fmla="*/ 26 w 219"/>
                <a:gd name="T75" fmla="*/ 6 h 108"/>
                <a:gd name="T76" fmla="*/ 36 w 219"/>
                <a:gd name="T77"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108">
                  <a:moveTo>
                    <a:pt x="36" y="5"/>
                  </a:moveTo>
                  <a:lnTo>
                    <a:pt x="54" y="2"/>
                  </a:lnTo>
                  <a:lnTo>
                    <a:pt x="71" y="0"/>
                  </a:lnTo>
                  <a:lnTo>
                    <a:pt x="79" y="0"/>
                  </a:lnTo>
                  <a:lnTo>
                    <a:pt x="88" y="2"/>
                  </a:lnTo>
                  <a:lnTo>
                    <a:pt x="96" y="5"/>
                  </a:lnTo>
                  <a:lnTo>
                    <a:pt x="105" y="10"/>
                  </a:lnTo>
                  <a:lnTo>
                    <a:pt x="123" y="25"/>
                  </a:lnTo>
                  <a:lnTo>
                    <a:pt x="140" y="41"/>
                  </a:lnTo>
                  <a:lnTo>
                    <a:pt x="156" y="55"/>
                  </a:lnTo>
                  <a:lnTo>
                    <a:pt x="165" y="61"/>
                  </a:lnTo>
                  <a:lnTo>
                    <a:pt x="174" y="65"/>
                  </a:lnTo>
                  <a:lnTo>
                    <a:pt x="186" y="71"/>
                  </a:lnTo>
                  <a:lnTo>
                    <a:pt x="197" y="80"/>
                  </a:lnTo>
                  <a:lnTo>
                    <a:pt x="207" y="92"/>
                  </a:lnTo>
                  <a:lnTo>
                    <a:pt x="218" y="107"/>
                  </a:lnTo>
                  <a:lnTo>
                    <a:pt x="154" y="92"/>
                  </a:lnTo>
                  <a:lnTo>
                    <a:pt x="114" y="97"/>
                  </a:lnTo>
                  <a:lnTo>
                    <a:pt x="115" y="99"/>
                  </a:lnTo>
                  <a:lnTo>
                    <a:pt x="99" y="97"/>
                  </a:lnTo>
                  <a:lnTo>
                    <a:pt x="85" y="95"/>
                  </a:lnTo>
                  <a:lnTo>
                    <a:pt x="71" y="92"/>
                  </a:lnTo>
                  <a:lnTo>
                    <a:pt x="61" y="88"/>
                  </a:lnTo>
                  <a:lnTo>
                    <a:pt x="50" y="81"/>
                  </a:lnTo>
                  <a:lnTo>
                    <a:pt x="43" y="75"/>
                  </a:lnTo>
                  <a:lnTo>
                    <a:pt x="36" y="66"/>
                  </a:lnTo>
                  <a:lnTo>
                    <a:pt x="32" y="56"/>
                  </a:lnTo>
                  <a:lnTo>
                    <a:pt x="26" y="47"/>
                  </a:lnTo>
                  <a:lnTo>
                    <a:pt x="18" y="40"/>
                  </a:lnTo>
                  <a:lnTo>
                    <a:pt x="9" y="32"/>
                  </a:lnTo>
                  <a:lnTo>
                    <a:pt x="3" y="25"/>
                  </a:lnTo>
                  <a:lnTo>
                    <a:pt x="1" y="23"/>
                  </a:lnTo>
                  <a:lnTo>
                    <a:pt x="0" y="19"/>
                  </a:lnTo>
                  <a:lnTo>
                    <a:pt x="2" y="16"/>
                  </a:lnTo>
                  <a:lnTo>
                    <a:pt x="4" y="13"/>
                  </a:lnTo>
                  <a:lnTo>
                    <a:pt x="9" y="11"/>
                  </a:lnTo>
                  <a:lnTo>
                    <a:pt x="17" y="9"/>
                  </a:lnTo>
                  <a:lnTo>
                    <a:pt x="26" y="6"/>
                  </a:lnTo>
                  <a:lnTo>
                    <a:pt x="36" y="5"/>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7" name="Freeform 17">
              <a:extLst>
                <a:ext uri="{FF2B5EF4-FFF2-40B4-BE49-F238E27FC236}">
                  <a16:creationId xmlns:a16="http://schemas.microsoft.com/office/drawing/2014/main" id="{3059EEFD-1B2F-6344-D62C-A055B419B705}"/>
                </a:ext>
              </a:extLst>
            </p:cNvPr>
            <p:cNvSpPr>
              <a:spLocks/>
            </p:cNvSpPr>
            <p:nvPr/>
          </p:nvSpPr>
          <p:spPr bwMode="auto">
            <a:xfrm>
              <a:off x="3157" y="3594"/>
              <a:ext cx="113" cy="138"/>
            </a:xfrm>
            <a:custGeom>
              <a:avLst/>
              <a:gdLst>
                <a:gd name="T0" fmla="*/ 25 w 98"/>
                <a:gd name="T1" fmla="*/ 65 h 121"/>
                <a:gd name="T2" fmla="*/ 33 w 98"/>
                <a:gd name="T3" fmla="*/ 62 h 121"/>
                <a:gd name="T4" fmla="*/ 42 w 98"/>
                <a:gd name="T5" fmla="*/ 55 h 121"/>
                <a:gd name="T6" fmla="*/ 52 w 98"/>
                <a:gd name="T7" fmla="*/ 46 h 121"/>
                <a:gd name="T8" fmla="*/ 62 w 98"/>
                <a:gd name="T9" fmla="*/ 37 h 121"/>
                <a:gd name="T10" fmla="*/ 72 w 98"/>
                <a:gd name="T11" fmla="*/ 26 h 121"/>
                <a:gd name="T12" fmla="*/ 81 w 98"/>
                <a:gd name="T13" fmla="*/ 17 h 121"/>
                <a:gd name="T14" fmla="*/ 88 w 98"/>
                <a:gd name="T15" fmla="*/ 9 h 121"/>
                <a:gd name="T16" fmla="*/ 91 w 98"/>
                <a:gd name="T17" fmla="*/ 3 h 121"/>
                <a:gd name="T18" fmla="*/ 94 w 98"/>
                <a:gd name="T19" fmla="*/ 1 h 121"/>
                <a:gd name="T20" fmla="*/ 95 w 98"/>
                <a:gd name="T21" fmla="*/ 0 h 121"/>
                <a:gd name="T22" fmla="*/ 96 w 98"/>
                <a:gd name="T23" fmla="*/ 2 h 121"/>
                <a:gd name="T24" fmla="*/ 97 w 98"/>
                <a:gd name="T25" fmla="*/ 5 h 121"/>
                <a:gd name="T26" fmla="*/ 96 w 98"/>
                <a:gd name="T27" fmla="*/ 10 h 121"/>
                <a:gd name="T28" fmla="*/ 96 w 98"/>
                <a:gd name="T29" fmla="*/ 15 h 121"/>
                <a:gd name="T30" fmla="*/ 95 w 98"/>
                <a:gd name="T31" fmla="*/ 23 h 121"/>
                <a:gd name="T32" fmla="*/ 95 w 98"/>
                <a:gd name="T33" fmla="*/ 31 h 121"/>
                <a:gd name="T34" fmla="*/ 93 w 98"/>
                <a:gd name="T35" fmla="*/ 39 h 121"/>
                <a:gd name="T36" fmla="*/ 90 w 98"/>
                <a:gd name="T37" fmla="*/ 47 h 121"/>
                <a:gd name="T38" fmla="*/ 85 w 98"/>
                <a:gd name="T39" fmla="*/ 54 h 121"/>
                <a:gd name="T40" fmla="*/ 81 w 98"/>
                <a:gd name="T41" fmla="*/ 60 h 121"/>
                <a:gd name="T42" fmla="*/ 76 w 98"/>
                <a:gd name="T43" fmla="*/ 65 h 121"/>
                <a:gd name="T44" fmla="*/ 71 w 98"/>
                <a:gd name="T45" fmla="*/ 69 h 121"/>
                <a:gd name="T46" fmla="*/ 65 w 98"/>
                <a:gd name="T47" fmla="*/ 71 h 121"/>
                <a:gd name="T48" fmla="*/ 61 w 98"/>
                <a:gd name="T49" fmla="*/ 73 h 121"/>
                <a:gd name="T50" fmla="*/ 57 w 98"/>
                <a:gd name="T51" fmla="*/ 75 h 121"/>
                <a:gd name="T52" fmla="*/ 54 w 98"/>
                <a:gd name="T53" fmla="*/ 79 h 121"/>
                <a:gd name="T54" fmla="*/ 51 w 98"/>
                <a:gd name="T55" fmla="*/ 90 h 121"/>
                <a:gd name="T56" fmla="*/ 51 w 98"/>
                <a:gd name="T57" fmla="*/ 112 h 121"/>
                <a:gd name="T58" fmla="*/ 49 w 98"/>
                <a:gd name="T59" fmla="*/ 115 h 121"/>
                <a:gd name="T60" fmla="*/ 44 w 98"/>
                <a:gd name="T61" fmla="*/ 118 h 121"/>
                <a:gd name="T62" fmla="*/ 37 w 98"/>
                <a:gd name="T63" fmla="*/ 119 h 121"/>
                <a:gd name="T64" fmla="*/ 30 w 98"/>
                <a:gd name="T65" fmla="*/ 120 h 121"/>
                <a:gd name="T66" fmla="*/ 21 w 98"/>
                <a:gd name="T67" fmla="*/ 119 h 121"/>
                <a:gd name="T68" fmla="*/ 12 w 98"/>
                <a:gd name="T69" fmla="*/ 117 h 121"/>
                <a:gd name="T70" fmla="*/ 7 w 98"/>
                <a:gd name="T71" fmla="*/ 113 h 121"/>
                <a:gd name="T72" fmla="*/ 2 w 98"/>
                <a:gd name="T73" fmla="*/ 108 h 121"/>
                <a:gd name="T74" fmla="*/ 0 w 98"/>
                <a:gd name="T75" fmla="*/ 101 h 121"/>
                <a:gd name="T76" fmla="*/ 0 w 98"/>
                <a:gd name="T77" fmla="*/ 94 h 121"/>
                <a:gd name="T78" fmla="*/ 1 w 98"/>
                <a:gd name="T79" fmla="*/ 87 h 121"/>
                <a:gd name="T80" fmla="*/ 3 w 98"/>
                <a:gd name="T81" fmla="*/ 80 h 121"/>
                <a:gd name="T82" fmla="*/ 7 w 98"/>
                <a:gd name="T83" fmla="*/ 74 h 121"/>
                <a:gd name="T84" fmla="*/ 12 w 98"/>
                <a:gd name="T85" fmla="*/ 70 h 121"/>
                <a:gd name="T86" fmla="*/ 18 w 98"/>
                <a:gd name="T87" fmla="*/ 66 h 121"/>
                <a:gd name="T88" fmla="*/ 25 w 98"/>
                <a:gd name="T89" fmla="*/ 65 h 121"/>
                <a:gd name="T90" fmla="*/ 25 w 98"/>
                <a:gd name="T91" fmla="*/ 64 h 121"/>
                <a:gd name="T92" fmla="*/ 25 w 98"/>
                <a:gd name="T93" fmla="*/ 6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121">
                  <a:moveTo>
                    <a:pt x="25" y="65"/>
                  </a:moveTo>
                  <a:lnTo>
                    <a:pt x="33" y="62"/>
                  </a:lnTo>
                  <a:lnTo>
                    <a:pt x="42" y="55"/>
                  </a:lnTo>
                  <a:lnTo>
                    <a:pt x="52" y="46"/>
                  </a:lnTo>
                  <a:lnTo>
                    <a:pt x="62" y="37"/>
                  </a:lnTo>
                  <a:lnTo>
                    <a:pt x="72" y="26"/>
                  </a:lnTo>
                  <a:lnTo>
                    <a:pt x="81" y="17"/>
                  </a:lnTo>
                  <a:lnTo>
                    <a:pt x="88" y="9"/>
                  </a:lnTo>
                  <a:lnTo>
                    <a:pt x="91" y="3"/>
                  </a:lnTo>
                  <a:lnTo>
                    <a:pt x="94" y="1"/>
                  </a:lnTo>
                  <a:lnTo>
                    <a:pt x="95" y="0"/>
                  </a:lnTo>
                  <a:lnTo>
                    <a:pt x="96" y="2"/>
                  </a:lnTo>
                  <a:lnTo>
                    <a:pt x="97" y="5"/>
                  </a:lnTo>
                  <a:lnTo>
                    <a:pt x="96" y="10"/>
                  </a:lnTo>
                  <a:lnTo>
                    <a:pt x="96" y="15"/>
                  </a:lnTo>
                  <a:lnTo>
                    <a:pt x="95" y="23"/>
                  </a:lnTo>
                  <a:lnTo>
                    <a:pt x="95" y="31"/>
                  </a:lnTo>
                  <a:lnTo>
                    <a:pt x="93" y="39"/>
                  </a:lnTo>
                  <a:lnTo>
                    <a:pt x="90" y="47"/>
                  </a:lnTo>
                  <a:lnTo>
                    <a:pt x="85" y="54"/>
                  </a:lnTo>
                  <a:lnTo>
                    <a:pt x="81" y="60"/>
                  </a:lnTo>
                  <a:lnTo>
                    <a:pt x="76" y="65"/>
                  </a:lnTo>
                  <a:lnTo>
                    <a:pt x="71" y="69"/>
                  </a:lnTo>
                  <a:lnTo>
                    <a:pt x="65" y="71"/>
                  </a:lnTo>
                  <a:lnTo>
                    <a:pt x="61" y="73"/>
                  </a:lnTo>
                  <a:lnTo>
                    <a:pt x="57" y="75"/>
                  </a:lnTo>
                  <a:lnTo>
                    <a:pt x="54" y="79"/>
                  </a:lnTo>
                  <a:lnTo>
                    <a:pt x="51" y="90"/>
                  </a:lnTo>
                  <a:lnTo>
                    <a:pt x="51" y="112"/>
                  </a:lnTo>
                  <a:lnTo>
                    <a:pt x="49" y="115"/>
                  </a:lnTo>
                  <a:lnTo>
                    <a:pt x="44" y="118"/>
                  </a:lnTo>
                  <a:lnTo>
                    <a:pt x="37" y="119"/>
                  </a:lnTo>
                  <a:lnTo>
                    <a:pt x="30" y="120"/>
                  </a:lnTo>
                  <a:lnTo>
                    <a:pt x="21" y="119"/>
                  </a:lnTo>
                  <a:lnTo>
                    <a:pt x="12" y="117"/>
                  </a:lnTo>
                  <a:lnTo>
                    <a:pt x="7" y="113"/>
                  </a:lnTo>
                  <a:lnTo>
                    <a:pt x="2" y="108"/>
                  </a:lnTo>
                  <a:lnTo>
                    <a:pt x="0" y="101"/>
                  </a:lnTo>
                  <a:lnTo>
                    <a:pt x="0" y="94"/>
                  </a:lnTo>
                  <a:lnTo>
                    <a:pt x="1" y="87"/>
                  </a:lnTo>
                  <a:lnTo>
                    <a:pt x="3" y="80"/>
                  </a:lnTo>
                  <a:lnTo>
                    <a:pt x="7" y="74"/>
                  </a:lnTo>
                  <a:lnTo>
                    <a:pt x="12" y="70"/>
                  </a:lnTo>
                  <a:lnTo>
                    <a:pt x="18" y="66"/>
                  </a:lnTo>
                  <a:lnTo>
                    <a:pt x="25" y="65"/>
                  </a:lnTo>
                  <a:lnTo>
                    <a:pt x="25" y="64"/>
                  </a:lnTo>
                  <a:lnTo>
                    <a:pt x="25" y="65"/>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8" name="Freeform 18">
              <a:extLst>
                <a:ext uri="{FF2B5EF4-FFF2-40B4-BE49-F238E27FC236}">
                  <a16:creationId xmlns:a16="http://schemas.microsoft.com/office/drawing/2014/main" id="{DC0D6CDF-0BE1-FD80-97D7-AC74E1055CD8}"/>
                </a:ext>
              </a:extLst>
            </p:cNvPr>
            <p:cNvSpPr>
              <a:spLocks/>
            </p:cNvSpPr>
            <p:nvPr/>
          </p:nvSpPr>
          <p:spPr bwMode="auto">
            <a:xfrm>
              <a:off x="3278" y="3495"/>
              <a:ext cx="93" cy="108"/>
            </a:xfrm>
            <a:custGeom>
              <a:avLst/>
              <a:gdLst>
                <a:gd name="T0" fmla="*/ 6 w 80"/>
                <a:gd name="T1" fmla="*/ 2 h 95"/>
                <a:gd name="T2" fmla="*/ 11 w 80"/>
                <a:gd name="T3" fmla="*/ 3 h 95"/>
                <a:gd name="T4" fmla="*/ 16 w 80"/>
                <a:gd name="T5" fmla="*/ 8 h 95"/>
                <a:gd name="T6" fmla="*/ 27 w 80"/>
                <a:gd name="T7" fmla="*/ 22 h 95"/>
                <a:gd name="T8" fmla="*/ 31 w 80"/>
                <a:gd name="T9" fmla="*/ 29 h 95"/>
                <a:gd name="T10" fmla="*/ 36 w 80"/>
                <a:gd name="T11" fmla="*/ 35 h 95"/>
                <a:gd name="T12" fmla="*/ 38 w 80"/>
                <a:gd name="T13" fmla="*/ 37 h 95"/>
                <a:gd name="T14" fmla="*/ 40 w 80"/>
                <a:gd name="T15" fmla="*/ 40 h 95"/>
                <a:gd name="T16" fmla="*/ 43 w 80"/>
                <a:gd name="T17" fmla="*/ 41 h 95"/>
                <a:gd name="T18" fmla="*/ 51 w 80"/>
                <a:gd name="T19" fmla="*/ 42 h 95"/>
                <a:gd name="T20" fmla="*/ 62 w 80"/>
                <a:gd name="T21" fmla="*/ 42 h 95"/>
                <a:gd name="T22" fmla="*/ 72 w 80"/>
                <a:gd name="T23" fmla="*/ 44 h 95"/>
                <a:gd name="T24" fmla="*/ 76 w 80"/>
                <a:gd name="T25" fmla="*/ 46 h 95"/>
                <a:gd name="T26" fmla="*/ 78 w 80"/>
                <a:gd name="T27" fmla="*/ 49 h 95"/>
                <a:gd name="T28" fmla="*/ 79 w 80"/>
                <a:gd name="T29" fmla="*/ 53 h 95"/>
                <a:gd name="T30" fmla="*/ 78 w 80"/>
                <a:gd name="T31" fmla="*/ 57 h 95"/>
                <a:gd name="T32" fmla="*/ 73 w 80"/>
                <a:gd name="T33" fmla="*/ 68 h 95"/>
                <a:gd name="T34" fmla="*/ 66 w 80"/>
                <a:gd name="T35" fmla="*/ 77 h 95"/>
                <a:gd name="T36" fmla="*/ 59 w 80"/>
                <a:gd name="T37" fmla="*/ 86 h 95"/>
                <a:gd name="T38" fmla="*/ 53 w 80"/>
                <a:gd name="T39" fmla="*/ 92 h 95"/>
                <a:gd name="T40" fmla="*/ 45 w 80"/>
                <a:gd name="T41" fmla="*/ 94 h 95"/>
                <a:gd name="T42" fmla="*/ 41 w 80"/>
                <a:gd name="T43" fmla="*/ 94 h 95"/>
                <a:gd name="T44" fmla="*/ 36 w 80"/>
                <a:gd name="T45" fmla="*/ 92 h 95"/>
                <a:gd name="T46" fmla="*/ 32 w 80"/>
                <a:gd name="T47" fmla="*/ 90 h 95"/>
                <a:gd name="T48" fmla="*/ 29 w 80"/>
                <a:gd name="T49" fmla="*/ 86 h 95"/>
                <a:gd name="T50" fmla="*/ 24 w 80"/>
                <a:gd name="T51" fmla="*/ 76 h 95"/>
                <a:gd name="T52" fmla="*/ 21 w 80"/>
                <a:gd name="T53" fmla="*/ 65 h 95"/>
                <a:gd name="T54" fmla="*/ 20 w 80"/>
                <a:gd name="T55" fmla="*/ 55 h 95"/>
                <a:gd name="T56" fmla="*/ 20 w 80"/>
                <a:gd name="T57" fmla="*/ 47 h 95"/>
                <a:gd name="T58" fmla="*/ 20 w 80"/>
                <a:gd name="T59" fmla="*/ 41 h 95"/>
                <a:gd name="T60" fmla="*/ 17 w 80"/>
                <a:gd name="T61" fmla="*/ 34 h 95"/>
                <a:gd name="T62" fmla="*/ 11 w 80"/>
                <a:gd name="T63" fmla="*/ 27 h 95"/>
                <a:gd name="T64" fmla="*/ 2 w 80"/>
                <a:gd name="T65" fmla="*/ 17 h 95"/>
                <a:gd name="T66" fmla="*/ 0 w 80"/>
                <a:gd name="T67" fmla="*/ 15 h 95"/>
                <a:gd name="T68" fmla="*/ 4 w 80"/>
                <a:gd name="T69" fmla="*/ 0 h 95"/>
                <a:gd name="T70" fmla="*/ 6 w 80"/>
                <a:gd name="T7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95">
                  <a:moveTo>
                    <a:pt x="6" y="2"/>
                  </a:moveTo>
                  <a:lnTo>
                    <a:pt x="11" y="3"/>
                  </a:lnTo>
                  <a:lnTo>
                    <a:pt x="16" y="8"/>
                  </a:lnTo>
                  <a:lnTo>
                    <a:pt x="27" y="22"/>
                  </a:lnTo>
                  <a:lnTo>
                    <a:pt x="31" y="29"/>
                  </a:lnTo>
                  <a:lnTo>
                    <a:pt x="36" y="35"/>
                  </a:lnTo>
                  <a:lnTo>
                    <a:pt x="38" y="37"/>
                  </a:lnTo>
                  <a:lnTo>
                    <a:pt x="40" y="40"/>
                  </a:lnTo>
                  <a:lnTo>
                    <a:pt x="43" y="41"/>
                  </a:lnTo>
                  <a:lnTo>
                    <a:pt x="51" y="42"/>
                  </a:lnTo>
                  <a:lnTo>
                    <a:pt x="62" y="42"/>
                  </a:lnTo>
                  <a:lnTo>
                    <a:pt x="72" y="44"/>
                  </a:lnTo>
                  <a:lnTo>
                    <a:pt x="76" y="46"/>
                  </a:lnTo>
                  <a:lnTo>
                    <a:pt x="78" y="49"/>
                  </a:lnTo>
                  <a:lnTo>
                    <a:pt x="79" y="53"/>
                  </a:lnTo>
                  <a:lnTo>
                    <a:pt x="78" y="57"/>
                  </a:lnTo>
                  <a:lnTo>
                    <a:pt x="73" y="68"/>
                  </a:lnTo>
                  <a:lnTo>
                    <a:pt x="66" y="77"/>
                  </a:lnTo>
                  <a:lnTo>
                    <a:pt x="59" y="86"/>
                  </a:lnTo>
                  <a:lnTo>
                    <a:pt x="53" y="92"/>
                  </a:lnTo>
                  <a:lnTo>
                    <a:pt x="45" y="94"/>
                  </a:lnTo>
                  <a:lnTo>
                    <a:pt x="41" y="94"/>
                  </a:lnTo>
                  <a:lnTo>
                    <a:pt x="36" y="92"/>
                  </a:lnTo>
                  <a:lnTo>
                    <a:pt x="32" y="90"/>
                  </a:lnTo>
                  <a:lnTo>
                    <a:pt x="29" y="86"/>
                  </a:lnTo>
                  <a:lnTo>
                    <a:pt x="24" y="76"/>
                  </a:lnTo>
                  <a:lnTo>
                    <a:pt x="21" y="65"/>
                  </a:lnTo>
                  <a:lnTo>
                    <a:pt x="20" y="55"/>
                  </a:lnTo>
                  <a:lnTo>
                    <a:pt x="20" y="47"/>
                  </a:lnTo>
                  <a:lnTo>
                    <a:pt x="20" y="41"/>
                  </a:lnTo>
                  <a:lnTo>
                    <a:pt x="17" y="34"/>
                  </a:lnTo>
                  <a:lnTo>
                    <a:pt x="11" y="27"/>
                  </a:lnTo>
                  <a:lnTo>
                    <a:pt x="2" y="17"/>
                  </a:lnTo>
                  <a:lnTo>
                    <a:pt x="0" y="15"/>
                  </a:lnTo>
                  <a:lnTo>
                    <a:pt x="4" y="0"/>
                  </a:lnTo>
                  <a:lnTo>
                    <a:pt x="6" y="2"/>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9" name="Freeform 19">
              <a:extLst>
                <a:ext uri="{FF2B5EF4-FFF2-40B4-BE49-F238E27FC236}">
                  <a16:creationId xmlns:a16="http://schemas.microsoft.com/office/drawing/2014/main" id="{B9635A9C-A6D2-7D29-97E7-15223E7E566D}"/>
                </a:ext>
              </a:extLst>
            </p:cNvPr>
            <p:cNvSpPr>
              <a:spLocks/>
            </p:cNvSpPr>
            <p:nvPr/>
          </p:nvSpPr>
          <p:spPr bwMode="auto">
            <a:xfrm>
              <a:off x="524" y="1842"/>
              <a:ext cx="132" cy="183"/>
            </a:xfrm>
            <a:custGeom>
              <a:avLst/>
              <a:gdLst>
                <a:gd name="T0" fmla="*/ 60 w 114"/>
                <a:gd name="T1" fmla="*/ 4 h 161"/>
                <a:gd name="T2" fmla="*/ 55 w 114"/>
                <a:gd name="T3" fmla="*/ 14 h 161"/>
                <a:gd name="T4" fmla="*/ 50 w 114"/>
                <a:gd name="T5" fmla="*/ 16 h 161"/>
                <a:gd name="T6" fmla="*/ 46 w 114"/>
                <a:gd name="T7" fmla="*/ 22 h 161"/>
                <a:gd name="T8" fmla="*/ 45 w 114"/>
                <a:gd name="T9" fmla="*/ 30 h 161"/>
                <a:gd name="T10" fmla="*/ 39 w 114"/>
                <a:gd name="T11" fmla="*/ 35 h 161"/>
                <a:gd name="T12" fmla="*/ 39 w 114"/>
                <a:gd name="T13" fmla="*/ 44 h 161"/>
                <a:gd name="T14" fmla="*/ 34 w 114"/>
                <a:gd name="T15" fmla="*/ 54 h 161"/>
                <a:gd name="T16" fmla="*/ 33 w 114"/>
                <a:gd name="T17" fmla="*/ 60 h 161"/>
                <a:gd name="T18" fmla="*/ 41 w 114"/>
                <a:gd name="T19" fmla="*/ 51 h 161"/>
                <a:gd name="T20" fmla="*/ 49 w 114"/>
                <a:gd name="T21" fmla="*/ 53 h 161"/>
                <a:gd name="T22" fmla="*/ 56 w 114"/>
                <a:gd name="T23" fmla="*/ 55 h 161"/>
                <a:gd name="T24" fmla="*/ 56 w 114"/>
                <a:gd name="T25" fmla="*/ 64 h 161"/>
                <a:gd name="T26" fmla="*/ 57 w 114"/>
                <a:gd name="T27" fmla="*/ 71 h 161"/>
                <a:gd name="T28" fmla="*/ 54 w 114"/>
                <a:gd name="T29" fmla="*/ 80 h 161"/>
                <a:gd name="T30" fmla="*/ 60 w 114"/>
                <a:gd name="T31" fmla="*/ 88 h 161"/>
                <a:gd name="T32" fmla="*/ 56 w 114"/>
                <a:gd name="T33" fmla="*/ 97 h 161"/>
                <a:gd name="T34" fmla="*/ 46 w 114"/>
                <a:gd name="T35" fmla="*/ 102 h 161"/>
                <a:gd name="T36" fmla="*/ 34 w 114"/>
                <a:gd name="T37" fmla="*/ 104 h 161"/>
                <a:gd name="T38" fmla="*/ 30 w 114"/>
                <a:gd name="T39" fmla="*/ 120 h 161"/>
                <a:gd name="T40" fmla="*/ 20 w 114"/>
                <a:gd name="T41" fmla="*/ 122 h 161"/>
                <a:gd name="T42" fmla="*/ 16 w 114"/>
                <a:gd name="T43" fmla="*/ 129 h 161"/>
                <a:gd name="T44" fmla="*/ 27 w 114"/>
                <a:gd name="T45" fmla="*/ 127 h 161"/>
                <a:gd name="T46" fmla="*/ 34 w 114"/>
                <a:gd name="T47" fmla="*/ 131 h 161"/>
                <a:gd name="T48" fmla="*/ 30 w 114"/>
                <a:gd name="T49" fmla="*/ 137 h 161"/>
                <a:gd name="T50" fmla="*/ 22 w 114"/>
                <a:gd name="T51" fmla="*/ 142 h 161"/>
                <a:gd name="T52" fmla="*/ 10 w 114"/>
                <a:gd name="T53" fmla="*/ 154 h 161"/>
                <a:gd name="T54" fmla="*/ 2 w 114"/>
                <a:gd name="T55" fmla="*/ 160 h 161"/>
                <a:gd name="T56" fmla="*/ 27 w 114"/>
                <a:gd name="T57" fmla="*/ 156 h 161"/>
                <a:gd name="T58" fmla="*/ 37 w 114"/>
                <a:gd name="T59" fmla="*/ 151 h 161"/>
                <a:gd name="T60" fmla="*/ 59 w 114"/>
                <a:gd name="T61" fmla="*/ 151 h 161"/>
                <a:gd name="T62" fmla="*/ 83 w 114"/>
                <a:gd name="T63" fmla="*/ 152 h 161"/>
                <a:gd name="T64" fmla="*/ 102 w 114"/>
                <a:gd name="T65" fmla="*/ 147 h 161"/>
                <a:gd name="T66" fmla="*/ 96 w 114"/>
                <a:gd name="T67" fmla="*/ 140 h 161"/>
                <a:gd name="T68" fmla="*/ 105 w 114"/>
                <a:gd name="T69" fmla="*/ 133 h 161"/>
                <a:gd name="T70" fmla="*/ 113 w 114"/>
                <a:gd name="T71" fmla="*/ 113 h 161"/>
                <a:gd name="T72" fmla="*/ 102 w 114"/>
                <a:gd name="T73" fmla="*/ 111 h 161"/>
                <a:gd name="T74" fmla="*/ 94 w 114"/>
                <a:gd name="T75" fmla="*/ 111 h 161"/>
                <a:gd name="T76" fmla="*/ 97 w 114"/>
                <a:gd name="T77" fmla="*/ 103 h 161"/>
                <a:gd name="T78" fmla="*/ 95 w 114"/>
                <a:gd name="T79" fmla="*/ 93 h 161"/>
                <a:gd name="T80" fmla="*/ 88 w 114"/>
                <a:gd name="T81" fmla="*/ 79 h 161"/>
                <a:gd name="T82" fmla="*/ 87 w 114"/>
                <a:gd name="T83" fmla="*/ 70 h 161"/>
                <a:gd name="T84" fmla="*/ 82 w 114"/>
                <a:gd name="T85" fmla="*/ 60 h 161"/>
                <a:gd name="T86" fmla="*/ 76 w 114"/>
                <a:gd name="T87" fmla="*/ 54 h 161"/>
                <a:gd name="T88" fmla="*/ 68 w 114"/>
                <a:gd name="T89" fmla="*/ 51 h 161"/>
                <a:gd name="T90" fmla="*/ 76 w 114"/>
                <a:gd name="T91" fmla="*/ 48 h 161"/>
                <a:gd name="T92" fmla="*/ 74 w 114"/>
                <a:gd name="T93" fmla="*/ 43 h 161"/>
                <a:gd name="T94" fmla="*/ 84 w 114"/>
                <a:gd name="T95" fmla="*/ 38 h 161"/>
                <a:gd name="T96" fmla="*/ 90 w 114"/>
                <a:gd name="T97" fmla="*/ 32 h 161"/>
                <a:gd name="T98" fmla="*/ 80 w 114"/>
                <a:gd name="T99" fmla="*/ 22 h 161"/>
                <a:gd name="T100" fmla="*/ 71 w 114"/>
                <a:gd name="T101" fmla="*/ 21 h 161"/>
                <a:gd name="T102" fmla="*/ 66 w 114"/>
                <a:gd name="T103" fmla="*/ 19 h 161"/>
                <a:gd name="T104" fmla="*/ 75 w 114"/>
                <a:gd name="T105" fmla="*/ 14 h 161"/>
                <a:gd name="T106" fmla="*/ 84 w 114"/>
                <a:gd name="T107" fmla="*/ 5 h 161"/>
                <a:gd name="T108" fmla="*/ 66 w 114"/>
                <a:gd name="T109"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161">
                  <a:moveTo>
                    <a:pt x="63" y="2"/>
                  </a:moveTo>
                  <a:lnTo>
                    <a:pt x="60" y="4"/>
                  </a:lnTo>
                  <a:lnTo>
                    <a:pt x="56" y="8"/>
                  </a:lnTo>
                  <a:lnTo>
                    <a:pt x="55" y="14"/>
                  </a:lnTo>
                  <a:lnTo>
                    <a:pt x="52" y="16"/>
                  </a:lnTo>
                  <a:lnTo>
                    <a:pt x="50" y="16"/>
                  </a:lnTo>
                  <a:lnTo>
                    <a:pt x="46" y="17"/>
                  </a:lnTo>
                  <a:lnTo>
                    <a:pt x="46" y="22"/>
                  </a:lnTo>
                  <a:lnTo>
                    <a:pt x="45" y="27"/>
                  </a:lnTo>
                  <a:lnTo>
                    <a:pt x="45" y="30"/>
                  </a:lnTo>
                  <a:lnTo>
                    <a:pt x="41" y="32"/>
                  </a:lnTo>
                  <a:lnTo>
                    <a:pt x="39" y="35"/>
                  </a:lnTo>
                  <a:lnTo>
                    <a:pt x="41" y="39"/>
                  </a:lnTo>
                  <a:lnTo>
                    <a:pt x="39" y="44"/>
                  </a:lnTo>
                  <a:lnTo>
                    <a:pt x="35" y="52"/>
                  </a:lnTo>
                  <a:lnTo>
                    <a:pt x="34" y="54"/>
                  </a:lnTo>
                  <a:lnTo>
                    <a:pt x="30" y="60"/>
                  </a:lnTo>
                  <a:lnTo>
                    <a:pt x="33" y="60"/>
                  </a:lnTo>
                  <a:lnTo>
                    <a:pt x="36" y="58"/>
                  </a:lnTo>
                  <a:lnTo>
                    <a:pt x="41" y="51"/>
                  </a:lnTo>
                  <a:lnTo>
                    <a:pt x="45" y="51"/>
                  </a:lnTo>
                  <a:lnTo>
                    <a:pt x="49" y="53"/>
                  </a:lnTo>
                  <a:lnTo>
                    <a:pt x="53" y="54"/>
                  </a:lnTo>
                  <a:lnTo>
                    <a:pt x="56" y="55"/>
                  </a:lnTo>
                  <a:lnTo>
                    <a:pt x="57" y="61"/>
                  </a:lnTo>
                  <a:lnTo>
                    <a:pt x="56" y="64"/>
                  </a:lnTo>
                  <a:lnTo>
                    <a:pt x="56" y="70"/>
                  </a:lnTo>
                  <a:lnTo>
                    <a:pt x="57" y="71"/>
                  </a:lnTo>
                  <a:lnTo>
                    <a:pt x="54" y="77"/>
                  </a:lnTo>
                  <a:lnTo>
                    <a:pt x="54" y="80"/>
                  </a:lnTo>
                  <a:lnTo>
                    <a:pt x="56" y="85"/>
                  </a:lnTo>
                  <a:lnTo>
                    <a:pt x="60" y="88"/>
                  </a:lnTo>
                  <a:lnTo>
                    <a:pt x="55" y="89"/>
                  </a:lnTo>
                  <a:lnTo>
                    <a:pt x="56" y="97"/>
                  </a:lnTo>
                  <a:lnTo>
                    <a:pt x="53" y="99"/>
                  </a:lnTo>
                  <a:lnTo>
                    <a:pt x="46" y="102"/>
                  </a:lnTo>
                  <a:lnTo>
                    <a:pt x="40" y="102"/>
                  </a:lnTo>
                  <a:lnTo>
                    <a:pt x="34" y="104"/>
                  </a:lnTo>
                  <a:lnTo>
                    <a:pt x="34" y="116"/>
                  </a:lnTo>
                  <a:lnTo>
                    <a:pt x="30" y="120"/>
                  </a:lnTo>
                  <a:lnTo>
                    <a:pt x="28" y="122"/>
                  </a:lnTo>
                  <a:lnTo>
                    <a:pt x="20" y="122"/>
                  </a:lnTo>
                  <a:lnTo>
                    <a:pt x="16" y="126"/>
                  </a:lnTo>
                  <a:lnTo>
                    <a:pt x="16" y="129"/>
                  </a:lnTo>
                  <a:lnTo>
                    <a:pt x="22" y="129"/>
                  </a:lnTo>
                  <a:lnTo>
                    <a:pt x="27" y="127"/>
                  </a:lnTo>
                  <a:lnTo>
                    <a:pt x="27" y="131"/>
                  </a:lnTo>
                  <a:lnTo>
                    <a:pt x="34" y="131"/>
                  </a:lnTo>
                  <a:lnTo>
                    <a:pt x="34" y="135"/>
                  </a:lnTo>
                  <a:lnTo>
                    <a:pt x="30" y="137"/>
                  </a:lnTo>
                  <a:lnTo>
                    <a:pt x="26" y="140"/>
                  </a:lnTo>
                  <a:lnTo>
                    <a:pt x="22" y="142"/>
                  </a:lnTo>
                  <a:lnTo>
                    <a:pt x="18" y="145"/>
                  </a:lnTo>
                  <a:lnTo>
                    <a:pt x="10" y="154"/>
                  </a:lnTo>
                  <a:lnTo>
                    <a:pt x="0" y="158"/>
                  </a:lnTo>
                  <a:lnTo>
                    <a:pt x="2" y="160"/>
                  </a:lnTo>
                  <a:lnTo>
                    <a:pt x="21" y="154"/>
                  </a:lnTo>
                  <a:lnTo>
                    <a:pt x="27" y="156"/>
                  </a:lnTo>
                  <a:lnTo>
                    <a:pt x="32" y="154"/>
                  </a:lnTo>
                  <a:lnTo>
                    <a:pt x="37" y="151"/>
                  </a:lnTo>
                  <a:lnTo>
                    <a:pt x="49" y="152"/>
                  </a:lnTo>
                  <a:lnTo>
                    <a:pt x="59" y="151"/>
                  </a:lnTo>
                  <a:lnTo>
                    <a:pt x="81" y="151"/>
                  </a:lnTo>
                  <a:lnTo>
                    <a:pt x="83" y="152"/>
                  </a:lnTo>
                  <a:lnTo>
                    <a:pt x="96" y="151"/>
                  </a:lnTo>
                  <a:lnTo>
                    <a:pt x="102" y="147"/>
                  </a:lnTo>
                  <a:lnTo>
                    <a:pt x="101" y="144"/>
                  </a:lnTo>
                  <a:lnTo>
                    <a:pt x="96" y="140"/>
                  </a:lnTo>
                  <a:lnTo>
                    <a:pt x="93" y="139"/>
                  </a:lnTo>
                  <a:lnTo>
                    <a:pt x="105" y="133"/>
                  </a:lnTo>
                  <a:lnTo>
                    <a:pt x="110" y="127"/>
                  </a:lnTo>
                  <a:lnTo>
                    <a:pt x="113" y="113"/>
                  </a:lnTo>
                  <a:lnTo>
                    <a:pt x="110" y="111"/>
                  </a:lnTo>
                  <a:lnTo>
                    <a:pt x="102" y="111"/>
                  </a:lnTo>
                  <a:lnTo>
                    <a:pt x="98" y="114"/>
                  </a:lnTo>
                  <a:lnTo>
                    <a:pt x="94" y="111"/>
                  </a:lnTo>
                  <a:lnTo>
                    <a:pt x="98" y="108"/>
                  </a:lnTo>
                  <a:lnTo>
                    <a:pt x="97" y="103"/>
                  </a:lnTo>
                  <a:lnTo>
                    <a:pt x="95" y="96"/>
                  </a:lnTo>
                  <a:lnTo>
                    <a:pt x="95" y="93"/>
                  </a:lnTo>
                  <a:lnTo>
                    <a:pt x="94" y="86"/>
                  </a:lnTo>
                  <a:lnTo>
                    <a:pt x="88" y="79"/>
                  </a:lnTo>
                  <a:lnTo>
                    <a:pt x="90" y="75"/>
                  </a:lnTo>
                  <a:lnTo>
                    <a:pt x="87" y="70"/>
                  </a:lnTo>
                  <a:lnTo>
                    <a:pt x="83" y="67"/>
                  </a:lnTo>
                  <a:lnTo>
                    <a:pt x="82" y="60"/>
                  </a:lnTo>
                  <a:lnTo>
                    <a:pt x="77" y="59"/>
                  </a:lnTo>
                  <a:lnTo>
                    <a:pt x="76" y="54"/>
                  </a:lnTo>
                  <a:lnTo>
                    <a:pt x="72" y="50"/>
                  </a:lnTo>
                  <a:lnTo>
                    <a:pt x="68" y="51"/>
                  </a:lnTo>
                  <a:lnTo>
                    <a:pt x="72" y="48"/>
                  </a:lnTo>
                  <a:lnTo>
                    <a:pt x="76" y="48"/>
                  </a:lnTo>
                  <a:lnTo>
                    <a:pt x="75" y="44"/>
                  </a:lnTo>
                  <a:lnTo>
                    <a:pt x="74" y="43"/>
                  </a:lnTo>
                  <a:lnTo>
                    <a:pt x="79" y="43"/>
                  </a:lnTo>
                  <a:lnTo>
                    <a:pt x="84" y="38"/>
                  </a:lnTo>
                  <a:lnTo>
                    <a:pt x="88" y="36"/>
                  </a:lnTo>
                  <a:lnTo>
                    <a:pt x="90" y="32"/>
                  </a:lnTo>
                  <a:lnTo>
                    <a:pt x="94" y="23"/>
                  </a:lnTo>
                  <a:lnTo>
                    <a:pt x="80" y="22"/>
                  </a:lnTo>
                  <a:lnTo>
                    <a:pt x="75" y="21"/>
                  </a:lnTo>
                  <a:lnTo>
                    <a:pt x="71" y="21"/>
                  </a:lnTo>
                  <a:lnTo>
                    <a:pt x="65" y="22"/>
                  </a:lnTo>
                  <a:lnTo>
                    <a:pt x="66" y="19"/>
                  </a:lnTo>
                  <a:lnTo>
                    <a:pt x="71" y="17"/>
                  </a:lnTo>
                  <a:lnTo>
                    <a:pt x="75" y="14"/>
                  </a:lnTo>
                  <a:lnTo>
                    <a:pt x="81" y="10"/>
                  </a:lnTo>
                  <a:lnTo>
                    <a:pt x="84" y="5"/>
                  </a:lnTo>
                  <a:lnTo>
                    <a:pt x="79" y="0"/>
                  </a:lnTo>
                  <a:lnTo>
                    <a:pt x="66" y="5"/>
                  </a:lnTo>
                  <a:lnTo>
                    <a:pt x="63" y="2"/>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0" name="Freeform 20">
              <a:extLst>
                <a:ext uri="{FF2B5EF4-FFF2-40B4-BE49-F238E27FC236}">
                  <a16:creationId xmlns:a16="http://schemas.microsoft.com/office/drawing/2014/main" id="{C58977B1-5AEE-370B-32DE-23A19D60E6C1}"/>
                </a:ext>
              </a:extLst>
            </p:cNvPr>
            <p:cNvSpPr>
              <a:spLocks/>
            </p:cNvSpPr>
            <p:nvPr/>
          </p:nvSpPr>
          <p:spPr bwMode="auto">
            <a:xfrm>
              <a:off x="465" y="1909"/>
              <a:ext cx="79" cy="76"/>
            </a:xfrm>
            <a:custGeom>
              <a:avLst/>
              <a:gdLst>
                <a:gd name="T0" fmla="*/ 49 w 68"/>
                <a:gd name="T1" fmla="*/ 0 h 67"/>
                <a:gd name="T2" fmla="*/ 54 w 68"/>
                <a:gd name="T3" fmla="*/ 0 h 67"/>
                <a:gd name="T4" fmla="*/ 57 w 68"/>
                <a:gd name="T5" fmla="*/ 3 h 67"/>
                <a:gd name="T6" fmla="*/ 59 w 68"/>
                <a:gd name="T7" fmla="*/ 3 h 67"/>
                <a:gd name="T8" fmla="*/ 58 w 68"/>
                <a:gd name="T9" fmla="*/ 5 h 67"/>
                <a:gd name="T10" fmla="*/ 55 w 68"/>
                <a:gd name="T11" fmla="*/ 6 h 67"/>
                <a:gd name="T12" fmla="*/ 49 w 68"/>
                <a:gd name="T13" fmla="*/ 9 h 67"/>
                <a:gd name="T14" fmla="*/ 47 w 68"/>
                <a:gd name="T15" fmla="*/ 14 h 67"/>
                <a:gd name="T16" fmla="*/ 49 w 68"/>
                <a:gd name="T17" fmla="*/ 17 h 67"/>
                <a:gd name="T18" fmla="*/ 50 w 68"/>
                <a:gd name="T19" fmla="*/ 19 h 67"/>
                <a:gd name="T20" fmla="*/ 53 w 68"/>
                <a:gd name="T21" fmla="*/ 19 h 67"/>
                <a:gd name="T22" fmla="*/ 62 w 68"/>
                <a:gd name="T23" fmla="*/ 16 h 67"/>
                <a:gd name="T24" fmla="*/ 65 w 68"/>
                <a:gd name="T25" fmla="*/ 22 h 67"/>
                <a:gd name="T26" fmla="*/ 67 w 68"/>
                <a:gd name="T27" fmla="*/ 25 h 67"/>
                <a:gd name="T28" fmla="*/ 65 w 68"/>
                <a:gd name="T29" fmla="*/ 28 h 67"/>
                <a:gd name="T30" fmla="*/ 65 w 68"/>
                <a:gd name="T31" fmla="*/ 36 h 67"/>
                <a:gd name="T32" fmla="*/ 61 w 68"/>
                <a:gd name="T33" fmla="*/ 47 h 67"/>
                <a:gd name="T34" fmla="*/ 52 w 68"/>
                <a:gd name="T35" fmla="*/ 59 h 67"/>
                <a:gd name="T36" fmla="*/ 34 w 68"/>
                <a:gd name="T37" fmla="*/ 59 h 67"/>
                <a:gd name="T38" fmla="*/ 32 w 68"/>
                <a:gd name="T39" fmla="*/ 63 h 67"/>
                <a:gd name="T40" fmla="*/ 27 w 68"/>
                <a:gd name="T41" fmla="*/ 63 h 67"/>
                <a:gd name="T42" fmla="*/ 25 w 68"/>
                <a:gd name="T43" fmla="*/ 59 h 67"/>
                <a:gd name="T44" fmla="*/ 23 w 68"/>
                <a:gd name="T45" fmla="*/ 65 h 67"/>
                <a:gd name="T46" fmla="*/ 18 w 68"/>
                <a:gd name="T47" fmla="*/ 65 h 67"/>
                <a:gd name="T48" fmla="*/ 15 w 68"/>
                <a:gd name="T49" fmla="*/ 66 h 67"/>
                <a:gd name="T50" fmla="*/ 5 w 68"/>
                <a:gd name="T51" fmla="*/ 66 h 67"/>
                <a:gd name="T52" fmla="*/ 0 w 68"/>
                <a:gd name="T53" fmla="*/ 61 h 67"/>
                <a:gd name="T54" fmla="*/ 2 w 68"/>
                <a:gd name="T55" fmla="*/ 57 h 67"/>
                <a:gd name="T56" fmla="*/ 0 w 68"/>
                <a:gd name="T57" fmla="*/ 52 h 67"/>
                <a:gd name="T58" fmla="*/ 5 w 68"/>
                <a:gd name="T59" fmla="*/ 52 h 67"/>
                <a:gd name="T60" fmla="*/ 10 w 68"/>
                <a:gd name="T61" fmla="*/ 49 h 67"/>
                <a:gd name="T62" fmla="*/ 12 w 68"/>
                <a:gd name="T63" fmla="*/ 45 h 67"/>
                <a:gd name="T64" fmla="*/ 16 w 68"/>
                <a:gd name="T65" fmla="*/ 43 h 67"/>
                <a:gd name="T66" fmla="*/ 20 w 68"/>
                <a:gd name="T67" fmla="*/ 34 h 67"/>
                <a:gd name="T68" fmla="*/ 16 w 68"/>
                <a:gd name="T69" fmla="*/ 30 h 67"/>
                <a:gd name="T70" fmla="*/ 14 w 68"/>
                <a:gd name="T71" fmla="*/ 27 h 67"/>
                <a:gd name="T72" fmla="*/ 18 w 68"/>
                <a:gd name="T73" fmla="*/ 25 h 67"/>
                <a:gd name="T74" fmla="*/ 19 w 68"/>
                <a:gd name="T75" fmla="*/ 24 h 67"/>
                <a:gd name="T76" fmla="*/ 20 w 68"/>
                <a:gd name="T77" fmla="*/ 12 h 67"/>
                <a:gd name="T78" fmla="*/ 26 w 68"/>
                <a:gd name="T79" fmla="*/ 14 h 67"/>
                <a:gd name="T80" fmla="*/ 28 w 68"/>
                <a:gd name="T81" fmla="*/ 16 h 67"/>
                <a:gd name="T82" fmla="*/ 32 w 68"/>
                <a:gd name="T83" fmla="*/ 16 h 67"/>
                <a:gd name="T84" fmla="*/ 35 w 68"/>
                <a:gd name="T85" fmla="*/ 18 h 67"/>
                <a:gd name="T86" fmla="*/ 39 w 68"/>
                <a:gd name="T87" fmla="*/ 18 h 67"/>
                <a:gd name="T88" fmla="*/ 39 w 68"/>
                <a:gd name="T89" fmla="*/ 14 h 67"/>
                <a:gd name="T90" fmla="*/ 43 w 68"/>
                <a:gd name="T91" fmla="*/ 10 h 67"/>
                <a:gd name="T92" fmla="*/ 40 w 68"/>
                <a:gd name="T93" fmla="*/ 8 h 67"/>
                <a:gd name="T94" fmla="*/ 41 w 68"/>
                <a:gd name="T95" fmla="*/ 7 h 67"/>
                <a:gd name="T96" fmla="*/ 45 w 68"/>
                <a:gd name="T97" fmla="*/ 5 h 67"/>
                <a:gd name="T98" fmla="*/ 49 w 68"/>
                <a:gd name="T9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 h="67">
                  <a:moveTo>
                    <a:pt x="49" y="0"/>
                  </a:moveTo>
                  <a:lnTo>
                    <a:pt x="54" y="0"/>
                  </a:lnTo>
                  <a:lnTo>
                    <a:pt x="57" y="3"/>
                  </a:lnTo>
                  <a:lnTo>
                    <a:pt x="59" y="3"/>
                  </a:lnTo>
                  <a:lnTo>
                    <a:pt x="58" y="5"/>
                  </a:lnTo>
                  <a:lnTo>
                    <a:pt x="55" y="6"/>
                  </a:lnTo>
                  <a:lnTo>
                    <a:pt x="49" y="9"/>
                  </a:lnTo>
                  <a:lnTo>
                    <a:pt x="47" y="14"/>
                  </a:lnTo>
                  <a:lnTo>
                    <a:pt x="49" y="17"/>
                  </a:lnTo>
                  <a:lnTo>
                    <a:pt x="50" y="19"/>
                  </a:lnTo>
                  <a:lnTo>
                    <a:pt x="53" y="19"/>
                  </a:lnTo>
                  <a:lnTo>
                    <a:pt x="62" y="16"/>
                  </a:lnTo>
                  <a:lnTo>
                    <a:pt x="65" y="22"/>
                  </a:lnTo>
                  <a:lnTo>
                    <a:pt x="67" y="25"/>
                  </a:lnTo>
                  <a:lnTo>
                    <a:pt x="65" y="28"/>
                  </a:lnTo>
                  <a:lnTo>
                    <a:pt x="65" y="36"/>
                  </a:lnTo>
                  <a:lnTo>
                    <a:pt x="61" y="47"/>
                  </a:lnTo>
                  <a:lnTo>
                    <a:pt x="52" y="59"/>
                  </a:lnTo>
                  <a:lnTo>
                    <a:pt x="34" y="59"/>
                  </a:lnTo>
                  <a:lnTo>
                    <a:pt x="32" y="63"/>
                  </a:lnTo>
                  <a:lnTo>
                    <a:pt x="27" y="63"/>
                  </a:lnTo>
                  <a:lnTo>
                    <a:pt x="25" y="59"/>
                  </a:lnTo>
                  <a:lnTo>
                    <a:pt x="23" y="65"/>
                  </a:lnTo>
                  <a:lnTo>
                    <a:pt x="18" y="65"/>
                  </a:lnTo>
                  <a:lnTo>
                    <a:pt x="15" y="66"/>
                  </a:lnTo>
                  <a:lnTo>
                    <a:pt x="5" y="66"/>
                  </a:lnTo>
                  <a:lnTo>
                    <a:pt x="0" y="61"/>
                  </a:lnTo>
                  <a:lnTo>
                    <a:pt x="2" y="57"/>
                  </a:lnTo>
                  <a:lnTo>
                    <a:pt x="0" y="52"/>
                  </a:lnTo>
                  <a:lnTo>
                    <a:pt x="5" y="52"/>
                  </a:lnTo>
                  <a:lnTo>
                    <a:pt x="10" y="49"/>
                  </a:lnTo>
                  <a:lnTo>
                    <a:pt x="12" y="45"/>
                  </a:lnTo>
                  <a:lnTo>
                    <a:pt x="16" y="43"/>
                  </a:lnTo>
                  <a:lnTo>
                    <a:pt x="20" y="34"/>
                  </a:lnTo>
                  <a:lnTo>
                    <a:pt x="16" y="30"/>
                  </a:lnTo>
                  <a:lnTo>
                    <a:pt x="14" y="27"/>
                  </a:lnTo>
                  <a:lnTo>
                    <a:pt x="18" y="25"/>
                  </a:lnTo>
                  <a:lnTo>
                    <a:pt x="19" y="24"/>
                  </a:lnTo>
                  <a:lnTo>
                    <a:pt x="20" y="12"/>
                  </a:lnTo>
                  <a:lnTo>
                    <a:pt x="26" y="14"/>
                  </a:lnTo>
                  <a:lnTo>
                    <a:pt x="28" y="16"/>
                  </a:lnTo>
                  <a:lnTo>
                    <a:pt x="32" y="16"/>
                  </a:lnTo>
                  <a:lnTo>
                    <a:pt x="35" y="18"/>
                  </a:lnTo>
                  <a:lnTo>
                    <a:pt x="39" y="18"/>
                  </a:lnTo>
                  <a:lnTo>
                    <a:pt x="39" y="14"/>
                  </a:lnTo>
                  <a:lnTo>
                    <a:pt x="43" y="10"/>
                  </a:lnTo>
                  <a:lnTo>
                    <a:pt x="40" y="8"/>
                  </a:lnTo>
                  <a:lnTo>
                    <a:pt x="41" y="7"/>
                  </a:lnTo>
                  <a:lnTo>
                    <a:pt x="45" y="5"/>
                  </a:lnTo>
                  <a:lnTo>
                    <a:pt x="49"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32" name="Freeform 21">
              <a:extLst>
                <a:ext uri="{FF2B5EF4-FFF2-40B4-BE49-F238E27FC236}">
                  <a16:creationId xmlns:a16="http://schemas.microsoft.com/office/drawing/2014/main" id="{E040C9D4-6556-D24C-2226-324608C36167}"/>
                </a:ext>
              </a:extLst>
            </p:cNvPr>
            <p:cNvSpPr>
              <a:spLocks/>
            </p:cNvSpPr>
            <p:nvPr/>
          </p:nvSpPr>
          <p:spPr bwMode="auto">
            <a:xfrm>
              <a:off x="519" y="1912"/>
              <a:ext cx="38" cy="26"/>
            </a:xfrm>
            <a:custGeom>
              <a:avLst/>
              <a:gdLst>
                <a:gd name="T0" fmla="*/ 13 w 33"/>
                <a:gd name="T1" fmla="*/ 0 h 23"/>
                <a:gd name="T2" fmla="*/ 17 w 33"/>
                <a:gd name="T3" fmla="*/ 0 h 23"/>
                <a:gd name="T4" fmla="*/ 19 w 33"/>
                <a:gd name="T5" fmla="*/ 3 h 23"/>
                <a:gd name="T6" fmla="*/ 21 w 33"/>
                <a:gd name="T7" fmla="*/ 0 h 23"/>
                <a:gd name="T8" fmla="*/ 26 w 33"/>
                <a:gd name="T9" fmla="*/ 2 h 23"/>
                <a:gd name="T10" fmla="*/ 30 w 33"/>
                <a:gd name="T11" fmla="*/ 0 h 23"/>
                <a:gd name="T12" fmla="*/ 29 w 33"/>
                <a:gd name="T13" fmla="*/ 4 h 23"/>
                <a:gd name="T14" fmla="*/ 32 w 33"/>
                <a:gd name="T15" fmla="*/ 9 h 23"/>
                <a:gd name="T16" fmla="*/ 32 w 33"/>
                <a:gd name="T17" fmla="*/ 13 h 23"/>
                <a:gd name="T18" fmla="*/ 28 w 33"/>
                <a:gd name="T19" fmla="*/ 20 h 23"/>
                <a:gd name="T20" fmla="*/ 26 w 33"/>
                <a:gd name="T21" fmla="*/ 20 h 23"/>
                <a:gd name="T22" fmla="*/ 23 w 33"/>
                <a:gd name="T23" fmla="*/ 21 h 23"/>
                <a:gd name="T24" fmla="*/ 20 w 33"/>
                <a:gd name="T25" fmla="*/ 22 h 23"/>
                <a:gd name="T26" fmla="*/ 18 w 33"/>
                <a:gd name="T27" fmla="*/ 20 h 23"/>
                <a:gd name="T28" fmla="*/ 16 w 33"/>
                <a:gd name="T29" fmla="*/ 13 h 23"/>
                <a:gd name="T30" fmla="*/ 10 w 33"/>
                <a:gd name="T31" fmla="*/ 15 h 23"/>
                <a:gd name="T32" fmla="*/ 7 w 33"/>
                <a:gd name="T33" fmla="*/ 17 h 23"/>
                <a:gd name="T34" fmla="*/ 4 w 33"/>
                <a:gd name="T35" fmla="*/ 17 h 23"/>
                <a:gd name="T36" fmla="*/ 2 w 33"/>
                <a:gd name="T37" fmla="*/ 13 h 23"/>
                <a:gd name="T38" fmla="*/ 0 w 33"/>
                <a:gd name="T39" fmla="*/ 11 h 23"/>
                <a:gd name="T40" fmla="*/ 3 w 33"/>
                <a:gd name="T41" fmla="*/ 6 h 23"/>
                <a:gd name="T42" fmla="*/ 8 w 33"/>
                <a:gd name="T43" fmla="*/ 3 h 23"/>
                <a:gd name="T44" fmla="*/ 11 w 33"/>
                <a:gd name="T45" fmla="*/ 2 h 23"/>
                <a:gd name="T46" fmla="*/ 13 w 33"/>
                <a:gd name="T4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23">
                  <a:moveTo>
                    <a:pt x="13" y="0"/>
                  </a:moveTo>
                  <a:lnTo>
                    <a:pt x="17" y="0"/>
                  </a:lnTo>
                  <a:lnTo>
                    <a:pt x="19" y="3"/>
                  </a:lnTo>
                  <a:lnTo>
                    <a:pt x="21" y="0"/>
                  </a:lnTo>
                  <a:lnTo>
                    <a:pt x="26" y="2"/>
                  </a:lnTo>
                  <a:lnTo>
                    <a:pt x="30" y="0"/>
                  </a:lnTo>
                  <a:lnTo>
                    <a:pt x="29" y="4"/>
                  </a:lnTo>
                  <a:lnTo>
                    <a:pt x="32" y="9"/>
                  </a:lnTo>
                  <a:lnTo>
                    <a:pt x="32" y="13"/>
                  </a:lnTo>
                  <a:lnTo>
                    <a:pt x="28" y="20"/>
                  </a:lnTo>
                  <a:lnTo>
                    <a:pt x="26" y="20"/>
                  </a:lnTo>
                  <a:lnTo>
                    <a:pt x="23" y="21"/>
                  </a:lnTo>
                  <a:lnTo>
                    <a:pt x="20" y="22"/>
                  </a:lnTo>
                  <a:lnTo>
                    <a:pt x="18" y="20"/>
                  </a:lnTo>
                  <a:lnTo>
                    <a:pt x="16" y="13"/>
                  </a:lnTo>
                  <a:lnTo>
                    <a:pt x="10" y="15"/>
                  </a:lnTo>
                  <a:lnTo>
                    <a:pt x="7" y="17"/>
                  </a:lnTo>
                  <a:lnTo>
                    <a:pt x="4" y="17"/>
                  </a:lnTo>
                  <a:lnTo>
                    <a:pt x="2" y="13"/>
                  </a:lnTo>
                  <a:lnTo>
                    <a:pt x="0" y="11"/>
                  </a:lnTo>
                  <a:lnTo>
                    <a:pt x="3" y="6"/>
                  </a:lnTo>
                  <a:lnTo>
                    <a:pt x="8" y="3"/>
                  </a:lnTo>
                  <a:lnTo>
                    <a:pt x="11" y="2"/>
                  </a:lnTo>
                  <a:lnTo>
                    <a:pt x="13"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57" name="Freeform 22">
              <a:extLst>
                <a:ext uri="{FF2B5EF4-FFF2-40B4-BE49-F238E27FC236}">
                  <a16:creationId xmlns:a16="http://schemas.microsoft.com/office/drawing/2014/main" id="{75CF0C4A-8220-7C5E-3245-3414BBB812D5}"/>
                </a:ext>
              </a:extLst>
            </p:cNvPr>
            <p:cNvSpPr>
              <a:spLocks/>
            </p:cNvSpPr>
            <p:nvPr/>
          </p:nvSpPr>
          <p:spPr bwMode="auto">
            <a:xfrm>
              <a:off x="697" y="2148"/>
              <a:ext cx="210" cy="198"/>
            </a:xfrm>
            <a:custGeom>
              <a:avLst/>
              <a:gdLst>
                <a:gd name="T0" fmla="*/ 34 w 181"/>
                <a:gd name="T1" fmla="*/ 22 h 174"/>
                <a:gd name="T2" fmla="*/ 17 w 181"/>
                <a:gd name="T3" fmla="*/ 15 h 174"/>
                <a:gd name="T4" fmla="*/ 5 w 181"/>
                <a:gd name="T5" fmla="*/ 23 h 174"/>
                <a:gd name="T6" fmla="*/ 3 w 181"/>
                <a:gd name="T7" fmla="*/ 31 h 174"/>
                <a:gd name="T8" fmla="*/ 0 w 181"/>
                <a:gd name="T9" fmla="*/ 37 h 174"/>
                <a:gd name="T10" fmla="*/ 0 w 181"/>
                <a:gd name="T11" fmla="*/ 40 h 174"/>
                <a:gd name="T12" fmla="*/ 3 w 181"/>
                <a:gd name="T13" fmla="*/ 50 h 174"/>
                <a:gd name="T14" fmla="*/ 10 w 181"/>
                <a:gd name="T15" fmla="*/ 56 h 174"/>
                <a:gd name="T16" fmla="*/ 20 w 181"/>
                <a:gd name="T17" fmla="*/ 52 h 174"/>
                <a:gd name="T18" fmla="*/ 28 w 181"/>
                <a:gd name="T19" fmla="*/ 48 h 174"/>
                <a:gd name="T20" fmla="*/ 49 w 181"/>
                <a:gd name="T21" fmla="*/ 57 h 174"/>
                <a:gd name="T22" fmla="*/ 53 w 181"/>
                <a:gd name="T23" fmla="*/ 75 h 174"/>
                <a:gd name="T24" fmla="*/ 63 w 181"/>
                <a:gd name="T25" fmla="*/ 87 h 174"/>
                <a:gd name="T26" fmla="*/ 73 w 181"/>
                <a:gd name="T27" fmla="*/ 93 h 174"/>
                <a:gd name="T28" fmla="*/ 82 w 181"/>
                <a:gd name="T29" fmla="*/ 104 h 174"/>
                <a:gd name="T30" fmla="*/ 99 w 181"/>
                <a:gd name="T31" fmla="*/ 113 h 174"/>
                <a:gd name="T32" fmla="*/ 119 w 181"/>
                <a:gd name="T33" fmla="*/ 120 h 174"/>
                <a:gd name="T34" fmla="*/ 121 w 181"/>
                <a:gd name="T35" fmla="*/ 131 h 174"/>
                <a:gd name="T36" fmla="*/ 137 w 181"/>
                <a:gd name="T37" fmla="*/ 135 h 174"/>
                <a:gd name="T38" fmla="*/ 142 w 181"/>
                <a:gd name="T39" fmla="*/ 154 h 174"/>
                <a:gd name="T40" fmla="*/ 138 w 181"/>
                <a:gd name="T41" fmla="*/ 163 h 174"/>
                <a:gd name="T42" fmla="*/ 133 w 181"/>
                <a:gd name="T43" fmla="*/ 168 h 174"/>
                <a:gd name="T44" fmla="*/ 143 w 181"/>
                <a:gd name="T45" fmla="*/ 173 h 174"/>
                <a:gd name="T46" fmla="*/ 148 w 181"/>
                <a:gd name="T47" fmla="*/ 166 h 174"/>
                <a:gd name="T48" fmla="*/ 148 w 181"/>
                <a:gd name="T49" fmla="*/ 156 h 174"/>
                <a:gd name="T50" fmla="*/ 158 w 181"/>
                <a:gd name="T51" fmla="*/ 154 h 174"/>
                <a:gd name="T52" fmla="*/ 159 w 181"/>
                <a:gd name="T53" fmla="*/ 150 h 174"/>
                <a:gd name="T54" fmla="*/ 149 w 181"/>
                <a:gd name="T55" fmla="*/ 138 h 174"/>
                <a:gd name="T56" fmla="*/ 152 w 181"/>
                <a:gd name="T57" fmla="*/ 128 h 174"/>
                <a:gd name="T58" fmla="*/ 157 w 181"/>
                <a:gd name="T59" fmla="*/ 126 h 174"/>
                <a:gd name="T60" fmla="*/ 174 w 181"/>
                <a:gd name="T61" fmla="*/ 137 h 174"/>
                <a:gd name="T62" fmla="*/ 180 w 181"/>
                <a:gd name="T63" fmla="*/ 131 h 174"/>
                <a:gd name="T64" fmla="*/ 169 w 181"/>
                <a:gd name="T65" fmla="*/ 119 h 174"/>
                <a:gd name="T66" fmla="*/ 155 w 181"/>
                <a:gd name="T67" fmla="*/ 113 h 174"/>
                <a:gd name="T68" fmla="*/ 139 w 181"/>
                <a:gd name="T69" fmla="*/ 107 h 174"/>
                <a:gd name="T70" fmla="*/ 141 w 181"/>
                <a:gd name="T71" fmla="*/ 102 h 174"/>
                <a:gd name="T72" fmla="*/ 141 w 181"/>
                <a:gd name="T73" fmla="*/ 98 h 174"/>
                <a:gd name="T74" fmla="*/ 121 w 181"/>
                <a:gd name="T75" fmla="*/ 94 h 174"/>
                <a:gd name="T76" fmla="*/ 108 w 181"/>
                <a:gd name="T77" fmla="*/ 83 h 174"/>
                <a:gd name="T78" fmla="*/ 106 w 181"/>
                <a:gd name="T79" fmla="*/ 71 h 174"/>
                <a:gd name="T80" fmla="*/ 102 w 181"/>
                <a:gd name="T81" fmla="*/ 65 h 174"/>
                <a:gd name="T82" fmla="*/ 91 w 181"/>
                <a:gd name="T83" fmla="*/ 58 h 174"/>
                <a:gd name="T84" fmla="*/ 81 w 181"/>
                <a:gd name="T85" fmla="*/ 46 h 174"/>
                <a:gd name="T86" fmla="*/ 85 w 181"/>
                <a:gd name="T87" fmla="*/ 39 h 174"/>
                <a:gd name="T88" fmla="*/ 89 w 181"/>
                <a:gd name="T89" fmla="*/ 27 h 174"/>
                <a:gd name="T90" fmla="*/ 106 w 181"/>
                <a:gd name="T91" fmla="*/ 26 h 174"/>
                <a:gd name="T92" fmla="*/ 105 w 181"/>
                <a:gd name="T93" fmla="*/ 16 h 174"/>
                <a:gd name="T94" fmla="*/ 97 w 181"/>
                <a:gd name="T95" fmla="*/ 7 h 174"/>
                <a:gd name="T96" fmla="*/ 81 w 181"/>
                <a:gd name="T97" fmla="*/ 0 h 174"/>
                <a:gd name="T98" fmla="*/ 65 w 181"/>
                <a:gd name="T99" fmla="*/ 3 h 174"/>
                <a:gd name="T100" fmla="*/ 56 w 181"/>
                <a:gd name="T101" fmla="*/ 5 h 174"/>
                <a:gd name="T102" fmla="*/ 39 w 181"/>
                <a:gd name="T103" fmla="*/ 1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1" h="174">
                  <a:moveTo>
                    <a:pt x="39" y="12"/>
                  </a:moveTo>
                  <a:lnTo>
                    <a:pt x="34" y="22"/>
                  </a:lnTo>
                  <a:lnTo>
                    <a:pt x="25" y="15"/>
                  </a:lnTo>
                  <a:lnTo>
                    <a:pt x="17" y="15"/>
                  </a:lnTo>
                  <a:lnTo>
                    <a:pt x="7" y="23"/>
                  </a:lnTo>
                  <a:lnTo>
                    <a:pt x="5" y="23"/>
                  </a:lnTo>
                  <a:lnTo>
                    <a:pt x="5" y="29"/>
                  </a:lnTo>
                  <a:lnTo>
                    <a:pt x="3" y="31"/>
                  </a:lnTo>
                  <a:lnTo>
                    <a:pt x="0" y="32"/>
                  </a:lnTo>
                  <a:lnTo>
                    <a:pt x="0" y="37"/>
                  </a:lnTo>
                  <a:lnTo>
                    <a:pt x="1" y="38"/>
                  </a:lnTo>
                  <a:lnTo>
                    <a:pt x="0" y="40"/>
                  </a:lnTo>
                  <a:lnTo>
                    <a:pt x="0" y="49"/>
                  </a:lnTo>
                  <a:lnTo>
                    <a:pt x="3" y="50"/>
                  </a:lnTo>
                  <a:lnTo>
                    <a:pt x="5" y="55"/>
                  </a:lnTo>
                  <a:lnTo>
                    <a:pt x="10" y="56"/>
                  </a:lnTo>
                  <a:lnTo>
                    <a:pt x="14" y="56"/>
                  </a:lnTo>
                  <a:lnTo>
                    <a:pt x="20" y="52"/>
                  </a:lnTo>
                  <a:lnTo>
                    <a:pt x="22" y="48"/>
                  </a:lnTo>
                  <a:lnTo>
                    <a:pt x="28" y="48"/>
                  </a:lnTo>
                  <a:lnTo>
                    <a:pt x="47" y="56"/>
                  </a:lnTo>
                  <a:lnTo>
                    <a:pt x="49" y="57"/>
                  </a:lnTo>
                  <a:lnTo>
                    <a:pt x="53" y="71"/>
                  </a:lnTo>
                  <a:lnTo>
                    <a:pt x="53" y="75"/>
                  </a:lnTo>
                  <a:lnTo>
                    <a:pt x="62" y="84"/>
                  </a:lnTo>
                  <a:lnTo>
                    <a:pt x="63" y="87"/>
                  </a:lnTo>
                  <a:lnTo>
                    <a:pt x="67" y="87"/>
                  </a:lnTo>
                  <a:lnTo>
                    <a:pt x="73" y="93"/>
                  </a:lnTo>
                  <a:lnTo>
                    <a:pt x="79" y="97"/>
                  </a:lnTo>
                  <a:lnTo>
                    <a:pt x="82" y="104"/>
                  </a:lnTo>
                  <a:lnTo>
                    <a:pt x="87" y="109"/>
                  </a:lnTo>
                  <a:lnTo>
                    <a:pt x="99" y="113"/>
                  </a:lnTo>
                  <a:lnTo>
                    <a:pt x="111" y="118"/>
                  </a:lnTo>
                  <a:lnTo>
                    <a:pt x="119" y="120"/>
                  </a:lnTo>
                  <a:lnTo>
                    <a:pt x="122" y="126"/>
                  </a:lnTo>
                  <a:lnTo>
                    <a:pt x="121" y="131"/>
                  </a:lnTo>
                  <a:lnTo>
                    <a:pt x="134" y="131"/>
                  </a:lnTo>
                  <a:lnTo>
                    <a:pt x="137" y="135"/>
                  </a:lnTo>
                  <a:lnTo>
                    <a:pt x="139" y="145"/>
                  </a:lnTo>
                  <a:lnTo>
                    <a:pt x="142" y="154"/>
                  </a:lnTo>
                  <a:lnTo>
                    <a:pt x="138" y="161"/>
                  </a:lnTo>
                  <a:lnTo>
                    <a:pt x="138" y="163"/>
                  </a:lnTo>
                  <a:lnTo>
                    <a:pt x="136" y="168"/>
                  </a:lnTo>
                  <a:lnTo>
                    <a:pt x="133" y="168"/>
                  </a:lnTo>
                  <a:lnTo>
                    <a:pt x="134" y="173"/>
                  </a:lnTo>
                  <a:lnTo>
                    <a:pt x="143" y="173"/>
                  </a:lnTo>
                  <a:lnTo>
                    <a:pt x="142" y="167"/>
                  </a:lnTo>
                  <a:lnTo>
                    <a:pt x="148" y="166"/>
                  </a:lnTo>
                  <a:lnTo>
                    <a:pt x="149" y="160"/>
                  </a:lnTo>
                  <a:lnTo>
                    <a:pt x="148" y="156"/>
                  </a:lnTo>
                  <a:lnTo>
                    <a:pt x="154" y="154"/>
                  </a:lnTo>
                  <a:lnTo>
                    <a:pt x="158" y="154"/>
                  </a:lnTo>
                  <a:lnTo>
                    <a:pt x="160" y="154"/>
                  </a:lnTo>
                  <a:lnTo>
                    <a:pt x="159" y="150"/>
                  </a:lnTo>
                  <a:lnTo>
                    <a:pt x="157" y="141"/>
                  </a:lnTo>
                  <a:lnTo>
                    <a:pt x="149" y="138"/>
                  </a:lnTo>
                  <a:lnTo>
                    <a:pt x="149" y="134"/>
                  </a:lnTo>
                  <a:lnTo>
                    <a:pt x="152" y="128"/>
                  </a:lnTo>
                  <a:lnTo>
                    <a:pt x="155" y="124"/>
                  </a:lnTo>
                  <a:lnTo>
                    <a:pt x="157" y="126"/>
                  </a:lnTo>
                  <a:lnTo>
                    <a:pt x="167" y="127"/>
                  </a:lnTo>
                  <a:lnTo>
                    <a:pt x="174" y="137"/>
                  </a:lnTo>
                  <a:lnTo>
                    <a:pt x="175" y="137"/>
                  </a:lnTo>
                  <a:lnTo>
                    <a:pt x="180" y="131"/>
                  </a:lnTo>
                  <a:lnTo>
                    <a:pt x="174" y="120"/>
                  </a:lnTo>
                  <a:lnTo>
                    <a:pt x="169" y="119"/>
                  </a:lnTo>
                  <a:lnTo>
                    <a:pt x="161" y="114"/>
                  </a:lnTo>
                  <a:lnTo>
                    <a:pt x="155" y="113"/>
                  </a:lnTo>
                  <a:lnTo>
                    <a:pt x="148" y="109"/>
                  </a:lnTo>
                  <a:lnTo>
                    <a:pt x="139" y="107"/>
                  </a:lnTo>
                  <a:lnTo>
                    <a:pt x="136" y="104"/>
                  </a:lnTo>
                  <a:lnTo>
                    <a:pt x="141" y="102"/>
                  </a:lnTo>
                  <a:lnTo>
                    <a:pt x="143" y="99"/>
                  </a:lnTo>
                  <a:lnTo>
                    <a:pt x="141" y="98"/>
                  </a:lnTo>
                  <a:lnTo>
                    <a:pt x="126" y="98"/>
                  </a:lnTo>
                  <a:lnTo>
                    <a:pt x="121" y="94"/>
                  </a:lnTo>
                  <a:lnTo>
                    <a:pt x="116" y="94"/>
                  </a:lnTo>
                  <a:lnTo>
                    <a:pt x="108" y="83"/>
                  </a:lnTo>
                  <a:lnTo>
                    <a:pt x="108" y="75"/>
                  </a:lnTo>
                  <a:lnTo>
                    <a:pt x="106" y="71"/>
                  </a:lnTo>
                  <a:lnTo>
                    <a:pt x="103" y="71"/>
                  </a:lnTo>
                  <a:lnTo>
                    <a:pt x="102" y="65"/>
                  </a:lnTo>
                  <a:lnTo>
                    <a:pt x="97" y="61"/>
                  </a:lnTo>
                  <a:lnTo>
                    <a:pt x="91" y="58"/>
                  </a:lnTo>
                  <a:lnTo>
                    <a:pt x="86" y="55"/>
                  </a:lnTo>
                  <a:lnTo>
                    <a:pt x="81" y="46"/>
                  </a:lnTo>
                  <a:lnTo>
                    <a:pt x="81" y="42"/>
                  </a:lnTo>
                  <a:lnTo>
                    <a:pt x="85" y="39"/>
                  </a:lnTo>
                  <a:lnTo>
                    <a:pt x="85" y="28"/>
                  </a:lnTo>
                  <a:lnTo>
                    <a:pt x="89" y="27"/>
                  </a:lnTo>
                  <a:lnTo>
                    <a:pt x="105" y="27"/>
                  </a:lnTo>
                  <a:lnTo>
                    <a:pt x="106" y="26"/>
                  </a:lnTo>
                  <a:lnTo>
                    <a:pt x="109" y="24"/>
                  </a:lnTo>
                  <a:lnTo>
                    <a:pt x="105" y="16"/>
                  </a:lnTo>
                  <a:lnTo>
                    <a:pt x="106" y="8"/>
                  </a:lnTo>
                  <a:lnTo>
                    <a:pt x="97" y="7"/>
                  </a:lnTo>
                  <a:lnTo>
                    <a:pt x="87" y="5"/>
                  </a:lnTo>
                  <a:lnTo>
                    <a:pt x="81" y="0"/>
                  </a:lnTo>
                  <a:lnTo>
                    <a:pt x="72" y="1"/>
                  </a:lnTo>
                  <a:lnTo>
                    <a:pt x="65" y="3"/>
                  </a:lnTo>
                  <a:lnTo>
                    <a:pt x="60" y="4"/>
                  </a:lnTo>
                  <a:lnTo>
                    <a:pt x="56" y="5"/>
                  </a:lnTo>
                  <a:lnTo>
                    <a:pt x="49" y="13"/>
                  </a:lnTo>
                  <a:lnTo>
                    <a:pt x="39" y="12"/>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58" name="Freeform 23">
              <a:extLst>
                <a:ext uri="{FF2B5EF4-FFF2-40B4-BE49-F238E27FC236}">
                  <a16:creationId xmlns:a16="http://schemas.microsoft.com/office/drawing/2014/main" id="{2601E486-615D-96ED-F5FF-55CDDCC05DD1}"/>
                </a:ext>
              </a:extLst>
            </p:cNvPr>
            <p:cNvSpPr>
              <a:spLocks/>
            </p:cNvSpPr>
            <p:nvPr/>
          </p:nvSpPr>
          <p:spPr bwMode="auto">
            <a:xfrm>
              <a:off x="2628" y="2346"/>
              <a:ext cx="20" cy="19"/>
            </a:xfrm>
            <a:custGeom>
              <a:avLst/>
              <a:gdLst>
                <a:gd name="T0" fmla="*/ 3 w 17"/>
                <a:gd name="T1" fmla="*/ 16 h 17"/>
                <a:gd name="T2" fmla="*/ 6 w 17"/>
                <a:gd name="T3" fmla="*/ 14 h 17"/>
                <a:gd name="T4" fmla="*/ 9 w 17"/>
                <a:gd name="T5" fmla="*/ 12 h 17"/>
                <a:gd name="T6" fmla="*/ 9 w 17"/>
                <a:gd name="T7" fmla="*/ 10 h 17"/>
                <a:gd name="T8" fmla="*/ 12 w 17"/>
                <a:gd name="T9" fmla="*/ 8 h 17"/>
                <a:gd name="T10" fmla="*/ 9 w 17"/>
                <a:gd name="T11" fmla="*/ 7 h 17"/>
                <a:gd name="T12" fmla="*/ 12 w 17"/>
                <a:gd name="T13" fmla="*/ 3 h 17"/>
                <a:gd name="T14" fmla="*/ 16 w 17"/>
                <a:gd name="T15" fmla="*/ 1 h 17"/>
                <a:gd name="T16" fmla="*/ 16 w 17"/>
                <a:gd name="T17" fmla="*/ 0 h 17"/>
                <a:gd name="T18" fmla="*/ 9 w 17"/>
                <a:gd name="T19" fmla="*/ 1 h 17"/>
                <a:gd name="T20" fmla="*/ 3 w 17"/>
                <a:gd name="T21" fmla="*/ 7 h 17"/>
                <a:gd name="T22" fmla="*/ 3 w 17"/>
                <a:gd name="T23" fmla="*/ 10 h 17"/>
                <a:gd name="T24" fmla="*/ 6 w 17"/>
                <a:gd name="T25" fmla="*/ 10 h 17"/>
                <a:gd name="T26" fmla="*/ 3 w 17"/>
                <a:gd name="T27" fmla="*/ 10 h 17"/>
                <a:gd name="T28" fmla="*/ 0 w 17"/>
                <a:gd name="T29" fmla="*/ 12 h 17"/>
                <a:gd name="T30" fmla="*/ 0 w 17"/>
                <a:gd name="T31" fmla="*/ 14 h 17"/>
                <a:gd name="T32" fmla="*/ 3 w 17"/>
                <a:gd name="T3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3" y="16"/>
                  </a:moveTo>
                  <a:lnTo>
                    <a:pt x="6" y="14"/>
                  </a:lnTo>
                  <a:lnTo>
                    <a:pt x="9" y="12"/>
                  </a:lnTo>
                  <a:lnTo>
                    <a:pt x="9" y="10"/>
                  </a:lnTo>
                  <a:lnTo>
                    <a:pt x="12" y="8"/>
                  </a:lnTo>
                  <a:lnTo>
                    <a:pt x="9" y="7"/>
                  </a:lnTo>
                  <a:lnTo>
                    <a:pt x="12" y="3"/>
                  </a:lnTo>
                  <a:lnTo>
                    <a:pt x="16" y="1"/>
                  </a:lnTo>
                  <a:lnTo>
                    <a:pt x="16" y="0"/>
                  </a:lnTo>
                  <a:lnTo>
                    <a:pt x="9" y="1"/>
                  </a:lnTo>
                  <a:lnTo>
                    <a:pt x="3" y="7"/>
                  </a:lnTo>
                  <a:lnTo>
                    <a:pt x="3" y="10"/>
                  </a:lnTo>
                  <a:lnTo>
                    <a:pt x="6" y="10"/>
                  </a:lnTo>
                  <a:lnTo>
                    <a:pt x="3" y="10"/>
                  </a:lnTo>
                  <a:lnTo>
                    <a:pt x="0" y="12"/>
                  </a:lnTo>
                  <a:lnTo>
                    <a:pt x="0" y="14"/>
                  </a:lnTo>
                  <a:lnTo>
                    <a:pt x="3"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59" name="Freeform 24">
              <a:extLst>
                <a:ext uri="{FF2B5EF4-FFF2-40B4-BE49-F238E27FC236}">
                  <a16:creationId xmlns:a16="http://schemas.microsoft.com/office/drawing/2014/main" id="{49D27140-042F-D11A-1B33-EDACEAD47874}"/>
                </a:ext>
              </a:extLst>
            </p:cNvPr>
            <p:cNvSpPr>
              <a:spLocks/>
            </p:cNvSpPr>
            <p:nvPr/>
          </p:nvSpPr>
          <p:spPr bwMode="auto">
            <a:xfrm>
              <a:off x="2636" y="2357"/>
              <a:ext cx="20" cy="20"/>
            </a:xfrm>
            <a:custGeom>
              <a:avLst/>
              <a:gdLst>
                <a:gd name="T0" fmla="*/ 8 w 17"/>
                <a:gd name="T1" fmla="*/ 0 h 17"/>
                <a:gd name="T2" fmla="*/ 8 w 17"/>
                <a:gd name="T3" fmla="*/ 0 h 17"/>
                <a:gd name="T4" fmla="*/ 16 w 17"/>
                <a:gd name="T5" fmla="*/ 10 h 17"/>
                <a:gd name="T6" fmla="*/ 16 w 17"/>
                <a:gd name="T7" fmla="*/ 16 h 17"/>
                <a:gd name="T8" fmla="*/ 8 w 17"/>
                <a:gd name="T9" fmla="*/ 16 h 17"/>
                <a:gd name="T10" fmla="*/ 0 w 17"/>
                <a:gd name="T11" fmla="*/ 10 h 17"/>
                <a:gd name="T12" fmla="*/ 8 w 1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8" y="0"/>
                  </a:moveTo>
                  <a:lnTo>
                    <a:pt x="8" y="0"/>
                  </a:lnTo>
                  <a:lnTo>
                    <a:pt x="16" y="10"/>
                  </a:lnTo>
                  <a:lnTo>
                    <a:pt x="16" y="16"/>
                  </a:lnTo>
                  <a:lnTo>
                    <a:pt x="8" y="16"/>
                  </a:lnTo>
                  <a:lnTo>
                    <a:pt x="0" y="10"/>
                  </a:lnTo>
                  <a:lnTo>
                    <a:pt x="8"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0" name="Freeform 25">
              <a:extLst>
                <a:ext uri="{FF2B5EF4-FFF2-40B4-BE49-F238E27FC236}">
                  <a16:creationId xmlns:a16="http://schemas.microsoft.com/office/drawing/2014/main" id="{835EBB19-EF56-BE83-0B3F-E028A22871D3}"/>
                </a:ext>
              </a:extLst>
            </p:cNvPr>
            <p:cNvSpPr>
              <a:spLocks/>
            </p:cNvSpPr>
            <p:nvPr/>
          </p:nvSpPr>
          <p:spPr bwMode="auto">
            <a:xfrm>
              <a:off x="2631" y="2360"/>
              <a:ext cx="39" cy="51"/>
            </a:xfrm>
            <a:custGeom>
              <a:avLst/>
              <a:gdLst>
                <a:gd name="T0" fmla="*/ 5 w 34"/>
                <a:gd name="T1" fmla="*/ 6 h 45"/>
                <a:gd name="T2" fmla="*/ 3 w 34"/>
                <a:gd name="T3" fmla="*/ 6 h 45"/>
                <a:gd name="T4" fmla="*/ 0 w 34"/>
                <a:gd name="T5" fmla="*/ 8 h 45"/>
                <a:gd name="T6" fmla="*/ 2 w 34"/>
                <a:gd name="T7" fmla="*/ 10 h 45"/>
                <a:gd name="T8" fmla="*/ 5 w 34"/>
                <a:gd name="T9" fmla="*/ 12 h 45"/>
                <a:gd name="T10" fmla="*/ 4 w 34"/>
                <a:gd name="T11" fmla="*/ 14 h 45"/>
                <a:gd name="T12" fmla="*/ 2 w 34"/>
                <a:gd name="T13" fmla="*/ 13 h 45"/>
                <a:gd name="T14" fmla="*/ 3 w 34"/>
                <a:gd name="T15" fmla="*/ 17 h 45"/>
                <a:gd name="T16" fmla="*/ 7 w 34"/>
                <a:gd name="T17" fmla="*/ 16 h 45"/>
                <a:gd name="T18" fmla="*/ 9 w 34"/>
                <a:gd name="T19" fmla="*/ 17 h 45"/>
                <a:gd name="T20" fmla="*/ 9 w 34"/>
                <a:gd name="T21" fmla="*/ 15 h 45"/>
                <a:gd name="T22" fmla="*/ 9 w 34"/>
                <a:gd name="T23" fmla="*/ 12 h 45"/>
                <a:gd name="T24" fmla="*/ 13 w 34"/>
                <a:gd name="T25" fmla="*/ 13 h 45"/>
                <a:gd name="T26" fmla="*/ 14 w 34"/>
                <a:gd name="T27" fmla="*/ 17 h 45"/>
                <a:gd name="T28" fmla="*/ 12 w 34"/>
                <a:gd name="T29" fmla="*/ 18 h 45"/>
                <a:gd name="T30" fmla="*/ 12 w 34"/>
                <a:gd name="T31" fmla="*/ 22 h 45"/>
                <a:gd name="T32" fmla="*/ 10 w 34"/>
                <a:gd name="T33" fmla="*/ 25 h 45"/>
                <a:gd name="T34" fmla="*/ 8 w 34"/>
                <a:gd name="T35" fmla="*/ 27 h 45"/>
                <a:gd name="T36" fmla="*/ 6 w 34"/>
                <a:gd name="T37" fmla="*/ 28 h 45"/>
                <a:gd name="T38" fmla="*/ 5 w 34"/>
                <a:gd name="T39" fmla="*/ 32 h 45"/>
                <a:gd name="T40" fmla="*/ 7 w 34"/>
                <a:gd name="T41" fmla="*/ 34 h 45"/>
                <a:gd name="T42" fmla="*/ 5 w 34"/>
                <a:gd name="T43" fmla="*/ 37 h 45"/>
                <a:gd name="T44" fmla="*/ 7 w 34"/>
                <a:gd name="T45" fmla="*/ 38 h 45"/>
                <a:gd name="T46" fmla="*/ 11 w 34"/>
                <a:gd name="T47" fmla="*/ 38 h 45"/>
                <a:gd name="T48" fmla="*/ 12 w 34"/>
                <a:gd name="T49" fmla="*/ 32 h 45"/>
                <a:gd name="T50" fmla="*/ 14 w 34"/>
                <a:gd name="T51" fmla="*/ 34 h 45"/>
                <a:gd name="T52" fmla="*/ 12 w 34"/>
                <a:gd name="T53" fmla="*/ 36 h 45"/>
                <a:gd name="T54" fmla="*/ 13 w 34"/>
                <a:gd name="T55" fmla="*/ 39 h 45"/>
                <a:gd name="T56" fmla="*/ 11 w 34"/>
                <a:gd name="T57" fmla="*/ 42 h 45"/>
                <a:gd name="T58" fmla="*/ 13 w 34"/>
                <a:gd name="T59" fmla="*/ 42 h 45"/>
                <a:gd name="T60" fmla="*/ 17 w 34"/>
                <a:gd name="T61" fmla="*/ 38 h 45"/>
                <a:gd name="T62" fmla="*/ 19 w 34"/>
                <a:gd name="T63" fmla="*/ 37 h 45"/>
                <a:gd name="T64" fmla="*/ 21 w 34"/>
                <a:gd name="T65" fmla="*/ 38 h 45"/>
                <a:gd name="T66" fmla="*/ 23 w 34"/>
                <a:gd name="T67" fmla="*/ 36 h 45"/>
                <a:gd name="T68" fmla="*/ 23 w 34"/>
                <a:gd name="T69" fmla="*/ 32 h 45"/>
                <a:gd name="T70" fmla="*/ 26 w 34"/>
                <a:gd name="T71" fmla="*/ 28 h 45"/>
                <a:gd name="T72" fmla="*/ 30 w 34"/>
                <a:gd name="T73" fmla="*/ 20 h 45"/>
                <a:gd name="T74" fmla="*/ 32 w 34"/>
                <a:gd name="T75" fmla="*/ 18 h 45"/>
                <a:gd name="T76" fmla="*/ 32 w 34"/>
                <a:gd name="T77" fmla="*/ 14 h 45"/>
                <a:gd name="T78" fmla="*/ 30 w 34"/>
                <a:gd name="T79" fmla="*/ 12 h 45"/>
                <a:gd name="T80" fmla="*/ 26 w 34"/>
                <a:gd name="T81" fmla="*/ 11 h 45"/>
                <a:gd name="T82" fmla="*/ 28 w 34"/>
                <a:gd name="T83" fmla="*/ 8 h 45"/>
                <a:gd name="T84" fmla="*/ 29 w 34"/>
                <a:gd name="T85" fmla="*/ 5 h 45"/>
                <a:gd name="T86" fmla="*/ 25 w 34"/>
                <a:gd name="T87" fmla="*/ 6 h 45"/>
                <a:gd name="T88" fmla="*/ 21 w 34"/>
                <a:gd name="T89" fmla="*/ 4 h 45"/>
                <a:gd name="T90" fmla="*/ 21 w 34"/>
                <a:gd name="T91" fmla="*/ 1 h 45"/>
                <a:gd name="T92" fmla="*/ 18 w 34"/>
                <a:gd name="T93" fmla="*/ 1 h 45"/>
                <a:gd name="T94" fmla="*/ 15 w 34"/>
                <a:gd name="T95" fmla="*/ 1 h 45"/>
                <a:gd name="T96" fmla="*/ 13 w 34"/>
                <a:gd name="T97" fmla="*/ 4 h 45"/>
                <a:gd name="T98" fmla="*/ 9 w 34"/>
                <a:gd name="T99" fmla="*/ 4 h 45"/>
                <a:gd name="T100" fmla="*/ 6 w 34"/>
                <a:gd name="T10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45">
                  <a:moveTo>
                    <a:pt x="6" y="4"/>
                  </a:moveTo>
                  <a:lnTo>
                    <a:pt x="6" y="5"/>
                  </a:lnTo>
                  <a:lnTo>
                    <a:pt x="5" y="6"/>
                  </a:lnTo>
                  <a:lnTo>
                    <a:pt x="5" y="7"/>
                  </a:lnTo>
                  <a:lnTo>
                    <a:pt x="5" y="8"/>
                  </a:lnTo>
                  <a:lnTo>
                    <a:pt x="3" y="6"/>
                  </a:lnTo>
                  <a:lnTo>
                    <a:pt x="2" y="7"/>
                  </a:lnTo>
                  <a:lnTo>
                    <a:pt x="1" y="7"/>
                  </a:lnTo>
                  <a:lnTo>
                    <a:pt x="0" y="8"/>
                  </a:lnTo>
                  <a:lnTo>
                    <a:pt x="1" y="9"/>
                  </a:lnTo>
                  <a:lnTo>
                    <a:pt x="2" y="9"/>
                  </a:lnTo>
                  <a:lnTo>
                    <a:pt x="2" y="10"/>
                  </a:lnTo>
                  <a:lnTo>
                    <a:pt x="2" y="11"/>
                  </a:lnTo>
                  <a:lnTo>
                    <a:pt x="4" y="11"/>
                  </a:lnTo>
                  <a:lnTo>
                    <a:pt x="5" y="12"/>
                  </a:lnTo>
                  <a:lnTo>
                    <a:pt x="5" y="13"/>
                  </a:lnTo>
                  <a:lnTo>
                    <a:pt x="5" y="14"/>
                  </a:lnTo>
                  <a:lnTo>
                    <a:pt x="4" y="14"/>
                  </a:lnTo>
                  <a:lnTo>
                    <a:pt x="3" y="13"/>
                  </a:lnTo>
                  <a:lnTo>
                    <a:pt x="2" y="12"/>
                  </a:lnTo>
                  <a:lnTo>
                    <a:pt x="2" y="13"/>
                  </a:lnTo>
                  <a:lnTo>
                    <a:pt x="1" y="14"/>
                  </a:lnTo>
                  <a:lnTo>
                    <a:pt x="2" y="15"/>
                  </a:lnTo>
                  <a:lnTo>
                    <a:pt x="3" y="17"/>
                  </a:lnTo>
                  <a:lnTo>
                    <a:pt x="4" y="18"/>
                  </a:lnTo>
                  <a:lnTo>
                    <a:pt x="5" y="17"/>
                  </a:lnTo>
                  <a:lnTo>
                    <a:pt x="7" y="16"/>
                  </a:lnTo>
                  <a:lnTo>
                    <a:pt x="7" y="17"/>
                  </a:lnTo>
                  <a:lnTo>
                    <a:pt x="8" y="18"/>
                  </a:lnTo>
                  <a:lnTo>
                    <a:pt x="9" y="17"/>
                  </a:lnTo>
                  <a:lnTo>
                    <a:pt x="11" y="16"/>
                  </a:lnTo>
                  <a:lnTo>
                    <a:pt x="10" y="15"/>
                  </a:lnTo>
                  <a:lnTo>
                    <a:pt x="9" y="15"/>
                  </a:lnTo>
                  <a:lnTo>
                    <a:pt x="7" y="14"/>
                  </a:lnTo>
                  <a:lnTo>
                    <a:pt x="8" y="13"/>
                  </a:lnTo>
                  <a:lnTo>
                    <a:pt x="9" y="12"/>
                  </a:lnTo>
                  <a:lnTo>
                    <a:pt x="10" y="11"/>
                  </a:lnTo>
                  <a:lnTo>
                    <a:pt x="11" y="12"/>
                  </a:lnTo>
                  <a:lnTo>
                    <a:pt x="13" y="13"/>
                  </a:lnTo>
                  <a:lnTo>
                    <a:pt x="13" y="14"/>
                  </a:lnTo>
                  <a:lnTo>
                    <a:pt x="13" y="16"/>
                  </a:lnTo>
                  <a:lnTo>
                    <a:pt x="14" y="17"/>
                  </a:lnTo>
                  <a:lnTo>
                    <a:pt x="14" y="18"/>
                  </a:lnTo>
                  <a:lnTo>
                    <a:pt x="13" y="18"/>
                  </a:lnTo>
                  <a:lnTo>
                    <a:pt x="12" y="18"/>
                  </a:lnTo>
                  <a:lnTo>
                    <a:pt x="13" y="20"/>
                  </a:lnTo>
                  <a:lnTo>
                    <a:pt x="13" y="21"/>
                  </a:lnTo>
                  <a:lnTo>
                    <a:pt x="12" y="22"/>
                  </a:lnTo>
                  <a:lnTo>
                    <a:pt x="11" y="22"/>
                  </a:lnTo>
                  <a:lnTo>
                    <a:pt x="11" y="24"/>
                  </a:lnTo>
                  <a:lnTo>
                    <a:pt x="10" y="25"/>
                  </a:lnTo>
                  <a:lnTo>
                    <a:pt x="10" y="26"/>
                  </a:lnTo>
                  <a:lnTo>
                    <a:pt x="9" y="27"/>
                  </a:lnTo>
                  <a:lnTo>
                    <a:pt x="8" y="27"/>
                  </a:lnTo>
                  <a:lnTo>
                    <a:pt x="7" y="26"/>
                  </a:lnTo>
                  <a:lnTo>
                    <a:pt x="7" y="27"/>
                  </a:lnTo>
                  <a:lnTo>
                    <a:pt x="6" y="28"/>
                  </a:lnTo>
                  <a:lnTo>
                    <a:pt x="6" y="30"/>
                  </a:lnTo>
                  <a:lnTo>
                    <a:pt x="5" y="30"/>
                  </a:lnTo>
                  <a:lnTo>
                    <a:pt x="5" y="32"/>
                  </a:lnTo>
                  <a:lnTo>
                    <a:pt x="6" y="33"/>
                  </a:lnTo>
                  <a:lnTo>
                    <a:pt x="7" y="33"/>
                  </a:lnTo>
                  <a:lnTo>
                    <a:pt x="7" y="34"/>
                  </a:lnTo>
                  <a:lnTo>
                    <a:pt x="7" y="35"/>
                  </a:lnTo>
                  <a:lnTo>
                    <a:pt x="5" y="36"/>
                  </a:lnTo>
                  <a:lnTo>
                    <a:pt x="5" y="37"/>
                  </a:lnTo>
                  <a:lnTo>
                    <a:pt x="5" y="38"/>
                  </a:lnTo>
                  <a:lnTo>
                    <a:pt x="6" y="38"/>
                  </a:lnTo>
                  <a:lnTo>
                    <a:pt x="7" y="38"/>
                  </a:lnTo>
                  <a:lnTo>
                    <a:pt x="8" y="38"/>
                  </a:lnTo>
                  <a:lnTo>
                    <a:pt x="10" y="39"/>
                  </a:lnTo>
                  <a:lnTo>
                    <a:pt x="11" y="38"/>
                  </a:lnTo>
                  <a:lnTo>
                    <a:pt x="11" y="37"/>
                  </a:lnTo>
                  <a:lnTo>
                    <a:pt x="11" y="33"/>
                  </a:lnTo>
                  <a:lnTo>
                    <a:pt x="12" y="32"/>
                  </a:lnTo>
                  <a:lnTo>
                    <a:pt x="13" y="32"/>
                  </a:lnTo>
                  <a:lnTo>
                    <a:pt x="14" y="33"/>
                  </a:lnTo>
                  <a:lnTo>
                    <a:pt x="14" y="34"/>
                  </a:lnTo>
                  <a:lnTo>
                    <a:pt x="14" y="35"/>
                  </a:lnTo>
                  <a:lnTo>
                    <a:pt x="12" y="35"/>
                  </a:lnTo>
                  <a:lnTo>
                    <a:pt x="12" y="36"/>
                  </a:lnTo>
                  <a:lnTo>
                    <a:pt x="13" y="36"/>
                  </a:lnTo>
                  <a:lnTo>
                    <a:pt x="13" y="38"/>
                  </a:lnTo>
                  <a:lnTo>
                    <a:pt x="13" y="39"/>
                  </a:lnTo>
                  <a:lnTo>
                    <a:pt x="12" y="40"/>
                  </a:lnTo>
                  <a:lnTo>
                    <a:pt x="11" y="41"/>
                  </a:lnTo>
                  <a:lnTo>
                    <a:pt x="11" y="42"/>
                  </a:lnTo>
                  <a:lnTo>
                    <a:pt x="11" y="43"/>
                  </a:lnTo>
                  <a:lnTo>
                    <a:pt x="11" y="44"/>
                  </a:lnTo>
                  <a:lnTo>
                    <a:pt x="13" y="42"/>
                  </a:lnTo>
                  <a:lnTo>
                    <a:pt x="15" y="41"/>
                  </a:lnTo>
                  <a:lnTo>
                    <a:pt x="17" y="40"/>
                  </a:lnTo>
                  <a:lnTo>
                    <a:pt x="17" y="38"/>
                  </a:lnTo>
                  <a:lnTo>
                    <a:pt x="17" y="37"/>
                  </a:lnTo>
                  <a:lnTo>
                    <a:pt x="18" y="37"/>
                  </a:lnTo>
                  <a:lnTo>
                    <a:pt x="19" y="37"/>
                  </a:lnTo>
                  <a:lnTo>
                    <a:pt x="20" y="38"/>
                  </a:lnTo>
                  <a:lnTo>
                    <a:pt x="21" y="39"/>
                  </a:lnTo>
                  <a:lnTo>
                    <a:pt x="21" y="38"/>
                  </a:lnTo>
                  <a:lnTo>
                    <a:pt x="21" y="37"/>
                  </a:lnTo>
                  <a:lnTo>
                    <a:pt x="22" y="37"/>
                  </a:lnTo>
                  <a:lnTo>
                    <a:pt x="23" y="36"/>
                  </a:lnTo>
                  <a:lnTo>
                    <a:pt x="23" y="35"/>
                  </a:lnTo>
                  <a:lnTo>
                    <a:pt x="23" y="34"/>
                  </a:lnTo>
                  <a:lnTo>
                    <a:pt x="23" y="32"/>
                  </a:lnTo>
                  <a:lnTo>
                    <a:pt x="23" y="31"/>
                  </a:lnTo>
                  <a:lnTo>
                    <a:pt x="25" y="28"/>
                  </a:lnTo>
                  <a:lnTo>
                    <a:pt x="26" y="28"/>
                  </a:lnTo>
                  <a:lnTo>
                    <a:pt x="29" y="22"/>
                  </a:lnTo>
                  <a:lnTo>
                    <a:pt x="29" y="21"/>
                  </a:lnTo>
                  <a:lnTo>
                    <a:pt x="30" y="20"/>
                  </a:lnTo>
                  <a:lnTo>
                    <a:pt x="31" y="20"/>
                  </a:lnTo>
                  <a:lnTo>
                    <a:pt x="32" y="20"/>
                  </a:lnTo>
                  <a:lnTo>
                    <a:pt x="32" y="18"/>
                  </a:lnTo>
                  <a:lnTo>
                    <a:pt x="32" y="17"/>
                  </a:lnTo>
                  <a:lnTo>
                    <a:pt x="33" y="15"/>
                  </a:lnTo>
                  <a:lnTo>
                    <a:pt x="32" y="14"/>
                  </a:lnTo>
                  <a:lnTo>
                    <a:pt x="31" y="14"/>
                  </a:lnTo>
                  <a:lnTo>
                    <a:pt x="31" y="12"/>
                  </a:lnTo>
                  <a:lnTo>
                    <a:pt x="30" y="12"/>
                  </a:lnTo>
                  <a:lnTo>
                    <a:pt x="28" y="12"/>
                  </a:lnTo>
                  <a:lnTo>
                    <a:pt x="27" y="11"/>
                  </a:lnTo>
                  <a:lnTo>
                    <a:pt x="26" y="11"/>
                  </a:lnTo>
                  <a:lnTo>
                    <a:pt x="26" y="9"/>
                  </a:lnTo>
                  <a:lnTo>
                    <a:pt x="27" y="9"/>
                  </a:lnTo>
                  <a:lnTo>
                    <a:pt x="28" y="8"/>
                  </a:lnTo>
                  <a:lnTo>
                    <a:pt x="30" y="7"/>
                  </a:lnTo>
                  <a:lnTo>
                    <a:pt x="29" y="6"/>
                  </a:lnTo>
                  <a:lnTo>
                    <a:pt x="29" y="5"/>
                  </a:lnTo>
                  <a:lnTo>
                    <a:pt x="27" y="5"/>
                  </a:lnTo>
                  <a:lnTo>
                    <a:pt x="26" y="5"/>
                  </a:lnTo>
                  <a:lnTo>
                    <a:pt x="25" y="6"/>
                  </a:lnTo>
                  <a:lnTo>
                    <a:pt x="22" y="5"/>
                  </a:lnTo>
                  <a:lnTo>
                    <a:pt x="21" y="5"/>
                  </a:lnTo>
                  <a:lnTo>
                    <a:pt x="21" y="4"/>
                  </a:lnTo>
                  <a:lnTo>
                    <a:pt x="21" y="3"/>
                  </a:lnTo>
                  <a:lnTo>
                    <a:pt x="21" y="2"/>
                  </a:lnTo>
                  <a:lnTo>
                    <a:pt x="21" y="1"/>
                  </a:lnTo>
                  <a:lnTo>
                    <a:pt x="20" y="0"/>
                  </a:lnTo>
                  <a:lnTo>
                    <a:pt x="20" y="1"/>
                  </a:lnTo>
                  <a:lnTo>
                    <a:pt x="18" y="1"/>
                  </a:lnTo>
                  <a:lnTo>
                    <a:pt x="17" y="0"/>
                  </a:lnTo>
                  <a:lnTo>
                    <a:pt x="16" y="1"/>
                  </a:lnTo>
                  <a:lnTo>
                    <a:pt x="15" y="1"/>
                  </a:lnTo>
                  <a:lnTo>
                    <a:pt x="14" y="2"/>
                  </a:lnTo>
                  <a:lnTo>
                    <a:pt x="13" y="3"/>
                  </a:lnTo>
                  <a:lnTo>
                    <a:pt x="13" y="4"/>
                  </a:lnTo>
                  <a:lnTo>
                    <a:pt x="12" y="5"/>
                  </a:lnTo>
                  <a:lnTo>
                    <a:pt x="10" y="4"/>
                  </a:lnTo>
                  <a:lnTo>
                    <a:pt x="9" y="4"/>
                  </a:lnTo>
                  <a:lnTo>
                    <a:pt x="8" y="5"/>
                  </a:lnTo>
                  <a:lnTo>
                    <a:pt x="7" y="6"/>
                  </a:lnTo>
                  <a:lnTo>
                    <a:pt x="6" y="4"/>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1" name="Freeform 26">
              <a:extLst>
                <a:ext uri="{FF2B5EF4-FFF2-40B4-BE49-F238E27FC236}">
                  <a16:creationId xmlns:a16="http://schemas.microsoft.com/office/drawing/2014/main" id="{3537BE69-9514-8ECA-1465-72384FF28337}"/>
                </a:ext>
              </a:extLst>
            </p:cNvPr>
            <p:cNvSpPr>
              <a:spLocks/>
            </p:cNvSpPr>
            <p:nvPr/>
          </p:nvSpPr>
          <p:spPr bwMode="auto">
            <a:xfrm>
              <a:off x="2678" y="2357"/>
              <a:ext cx="37" cy="31"/>
            </a:xfrm>
            <a:custGeom>
              <a:avLst/>
              <a:gdLst>
                <a:gd name="T0" fmla="*/ 7 w 32"/>
                <a:gd name="T1" fmla="*/ 4 h 27"/>
                <a:gd name="T2" fmla="*/ 6 w 32"/>
                <a:gd name="T3" fmla="*/ 5 h 27"/>
                <a:gd name="T4" fmla="*/ 5 w 32"/>
                <a:gd name="T5" fmla="*/ 7 h 27"/>
                <a:gd name="T6" fmla="*/ 4 w 32"/>
                <a:gd name="T7" fmla="*/ 10 h 27"/>
                <a:gd name="T8" fmla="*/ 1 w 32"/>
                <a:gd name="T9" fmla="*/ 12 h 27"/>
                <a:gd name="T10" fmla="*/ 0 w 32"/>
                <a:gd name="T11" fmla="*/ 14 h 27"/>
                <a:gd name="T12" fmla="*/ 1 w 32"/>
                <a:gd name="T13" fmla="*/ 17 h 27"/>
                <a:gd name="T14" fmla="*/ 0 w 32"/>
                <a:gd name="T15" fmla="*/ 19 h 27"/>
                <a:gd name="T16" fmla="*/ 1 w 32"/>
                <a:gd name="T17" fmla="*/ 21 h 27"/>
                <a:gd name="T18" fmla="*/ 3 w 32"/>
                <a:gd name="T19" fmla="*/ 22 h 27"/>
                <a:gd name="T20" fmla="*/ 2 w 32"/>
                <a:gd name="T21" fmla="*/ 24 h 27"/>
                <a:gd name="T22" fmla="*/ 3 w 32"/>
                <a:gd name="T23" fmla="*/ 26 h 27"/>
                <a:gd name="T24" fmla="*/ 5 w 32"/>
                <a:gd name="T25" fmla="*/ 25 h 27"/>
                <a:gd name="T26" fmla="*/ 6 w 32"/>
                <a:gd name="T27" fmla="*/ 23 h 27"/>
                <a:gd name="T28" fmla="*/ 8 w 32"/>
                <a:gd name="T29" fmla="*/ 21 h 27"/>
                <a:gd name="T30" fmla="*/ 10 w 32"/>
                <a:gd name="T31" fmla="*/ 19 h 27"/>
                <a:gd name="T32" fmla="*/ 13 w 32"/>
                <a:gd name="T33" fmla="*/ 15 h 27"/>
                <a:gd name="T34" fmla="*/ 16 w 32"/>
                <a:gd name="T35" fmla="*/ 14 h 27"/>
                <a:gd name="T36" fmla="*/ 19 w 32"/>
                <a:gd name="T37" fmla="*/ 13 h 27"/>
                <a:gd name="T38" fmla="*/ 20 w 32"/>
                <a:gd name="T39" fmla="*/ 15 h 27"/>
                <a:gd name="T40" fmla="*/ 21 w 32"/>
                <a:gd name="T41" fmla="*/ 17 h 27"/>
                <a:gd name="T42" fmla="*/ 24 w 32"/>
                <a:gd name="T43" fmla="*/ 18 h 27"/>
                <a:gd name="T44" fmla="*/ 24 w 32"/>
                <a:gd name="T45" fmla="*/ 15 h 27"/>
                <a:gd name="T46" fmla="*/ 27 w 32"/>
                <a:gd name="T47" fmla="*/ 12 h 27"/>
                <a:gd name="T48" fmla="*/ 30 w 32"/>
                <a:gd name="T49" fmla="*/ 10 h 27"/>
                <a:gd name="T50" fmla="*/ 30 w 32"/>
                <a:gd name="T51" fmla="*/ 6 h 27"/>
                <a:gd name="T52" fmla="*/ 29 w 32"/>
                <a:gd name="T53" fmla="*/ 5 h 27"/>
                <a:gd name="T54" fmla="*/ 28 w 32"/>
                <a:gd name="T55" fmla="*/ 3 h 27"/>
                <a:gd name="T56" fmla="*/ 26 w 32"/>
                <a:gd name="T57" fmla="*/ 2 h 27"/>
                <a:gd name="T58" fmla="*/ 23 w 32"/>
                <a:gd name="T59" fmla="*/ 0 h 27"/>
                <a:gd name="T60" fmla="*/ 19 w 32"/>
                <a:gd name="T61" fmla="*/ 2 h 27"/>
                <a:gd name="T62" fmla="*/ 15 w 32"/>
                <a:gd name="T63" fmla="*/ 2 h 27"/>
                <a:gd name="T64" fmla="*/ 16 w 32"/>
                <a:gd name="T65" fmla="*/ 5 h 27"/>
                <a:gd name="T66" fmla="*/ 14 w 32"/>
                <a:gd name="T67" fmla="*/ 5 h 27"/>
                <a:gd name="T68" fmla="*/ 11 w 32"/>
                <a:gd name="T69" fmla="*/ 6 h 27"/>
                <a:gd name="T70" fmla="*/ 9 w 32"/>
                <a:gd name="T7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7">
                  <a:moveTo>
                    <a:pt x="9" y="4"/>
                  </a:moveTo>
                  <a:lnTo>
                    <a:pt x="7" y="4"/>
                  </a:lnTo>
                  <a:lnTo>
                    <a:pt x="6" y="4"/>
                  </a:lnTo>
                  <a:lnTo>
                    <a:pt x="6" y="5"/>
                  </a:lnTo>
                  <a:lnTo>
                    <a:pt x="6" y="6"/>
                  </a:lnTo>
                  <a:lnTo>
                    <a:pt x="5" y="7"/>
                  </a:lnTo>
                  <a:lnTo>
                    <a:pt x="5" y="8"/>
                  </a:lnTo>
                  <a:lnTo>
                    <a:pt x="4" y="10"/>
                  </a:lnTo>
                  <a:lnTo>
                    <a:pt x="2" y="11"/>
                  </a:lnTo>
                  <a:lnTo>
                    <a:pt x="1" y="12"/>
                  </a:lnTo>
                  <a:lnTo>
                    <a:pt x="0" y="13"/>
                  </a:lnTo>
                  <a:lnTo>
                    <a:pt x="0" y="14"/>
                  </a:lnTo>
                  <a:lnTo>
                    <a:pt x="1" y="15"/>
                  </a:lnTo>
                  <a:lnTo>
                    <a:pt x="1" y="17"/>
                  </a:lnTo>
                  <a:lnTo>
                    <a:pt x="1" y="19"/>
                  </a:lnTo>
                  <a:lnTo>
                    <a:pt x="0" y="19"/>
                  </a:lnTo>
                  <a:lnTo>
                    <a:pt x="0" y="21"/>
                  </a:lnTo>
                  <a:lnTo>
                    <a:pt x="1" y="21"/>
                  </a:lnTo>
                  <a:lnTo>
                    <a:pt x="2" y="22"/>
                  </a:lnTo>
                  <a:lnTo>
                    <a:pt x="3" y="22"/>
                  </a:lnTo>
                  <a:lnTo>
                    <a:pt x="3" y="23"/>
                  </a:lnTo>
                  <a:lnTo>
                    <a:pt x="2" y="24"/>
                  </a:lnTo>
                  <a:lnTo>
                    <a:pt x="2" y="25"/>
                  </a:lnTo>
                  <a:lnTo>
                    <a:pt x="3" y="26"/>
                  </a:lnTo>
                  <a:lnTo>
                    <a:pt x="4" y="26"/>
                  </a:lnTo>
                  <a:lnTo>
                    <a:pt x="5" y="25"/>
                  </a:lnTo>
                  <a:lnTo>
                    <a:pt x="6" y="24"/>
                  </a:lnTo>
                  <a:lnTo>
                    <a:pt x="6" y="23"/>
                  </a:lnTo>
                  <a:lnTo>
                    <a:pt x="7" y="22"/>
                  </a:lnTo>
                  <a:lnTo>
                    <a:pt x="8" y="21"/>
                  </a:lnTo>
                  <a:lnTo>
                    <a:pt x="9" y="21"/>
                  </a:lnTo>
                  <a:lnTo>
                    <a:pt x="10" y="19"/>
                  </a:lnTo>
                  <a:lnTo>
                    <a:pt x="11" y="16"/>
                  </a:lnTo>
                  <a:lnTo>
                    <a:pt x="13" y="15"/>
                  </a:lnTo>
                  <a:lnTo>
                    <a:pt x="14" y="14"/>
                  </a:lnTo>
                  <a:lnTo>
                    <a:pt x="16" y="14"/>
                  </a:lnTo>
                  <a:lnTo>
                    <a:pt x="17" y="13"/>
                  </a:lnTo>
                  <a:lnTo>
                    <a:pt x="19" y="13"/>
                  </a:lnTo>
                  <a:lnTo>
                    <a:pt x="20" y="14"/>
                  </a:lnTo>
                  <a:lnTo>
                    <a:pt x="20" y="15"/>
                  </a:lnTo>
                  <a:lnTo>
                    <a:pt x="20" y="16"/>
                  </a:lnTo>
                  <a:lnTo>
                    <a:pt x="21" y="17"/>
                  </a:lnTo>
                  <a:lnTo>
                    <a:pt x="22" y="18"/>
                  </a:lnTo>
                  <a:lnTo>
                    <a:pt x="24" y="18"/>
                  </a:lnTo>
                  <a:lnTo>
                    <a:pt x="24" y="16"/>
                  </a:lnTo>
                  <a:lnTo>
                    <a:pt x="24" y="15"/>
                  </a:lnTo>
                  <a:lnTo>
                    <a:pt x="26" y="13"/>
                  </a:lnTo>
                  <a:lnTo>
                    <a:pt x="27" y="12"/>
                  </a:lnTo>
                  <a:lnTo>
                    <a:pt x="29" y="11"/>
                  </a:lnTo>
                  <a:lnTo>
                    <a:pt x="30" y="10"/>
                  </a:lnTo>
                  <a:lnTo>
                    <a:pt x="31" y="9"/>
                  </a:lnTo>
                  <a:lnTo>
                    <a:pt x="30" y="6"/>
                  </a:lnTo>
                  <a:lnTo>
                    <a:pt x="29" y="6"/>
                  </a:lnTo>
                  <a:lnTo>
                    <a:pt x="29" y="5"/>
                  </a:lnTo>
                  <a:lnTo>
                    <a:pt x="29" y="4"/>
                  </a:lnTo>
                  <a:lnTo>
                    <a:pt x="28" y="3"/>
                  </a:lnTo>
                  <a:lnTo>
                    <a:pt x="27" y="2"/>
                  </a:lnTo>
                  <a:lnTo>
                    <a:pt x="26" y="2"/>
                  </a:lnTo>
                  <a:lnTo>
                    <a:pt x="24" y="0"/>
                  </a:lnTo>
                  <a:lnTo>
                    <a:pt x="23" y="0"/>
                  </a:lnTo>
                  <a:lnTo>
                    <a:pt x="22" y="1"/>
                  </a:lnTo>
                  <a:lnTo>
                    <a:pt x="19" y="2"/>
                  </a:lnTo>
                  <a:lnTo>
                    <a:pt x="17" y="2"/>
                  </a:lnTo>
                  <a:lnTo>
                    <a:pt x="15" y="2"/>
                  </a:lnTo>
                  <a:lnTo>
                    <a:pt x="16" y="3"/>
                  </a:lnTo>
                  <a:lnTo>
                    <a:pt x="16" y="5"/>
                  </a:lnTo>
                  <a:lnTo>
                    <a:pt x="15" y="5"/>
                  </a:lnTo>
                  <a:lnTo>
                    <a:pt x="14" y="5"/>
                  </a:lnTo>
                  <a:lnTo>
                    <a:pt x="13" y="6"/>
                  </a:lnTo>
                  <a:lnTo>
                    <a:pt x="11" y="6"/>
                  </a:lnTo>
                  <a:lnTo>
                    <a:pt x="10" y="5"/>
                  </a:lnTo>
                  <a:lnTo>
                    <a:pt x="9" y="4"/>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3" name="Freeform 27">
              <a:extLst>
                <a:ext uri="{FF2B5EF4-FFF2-40B4-BE49-F238E27FC236}">
                  <a16:creationId xmlns:a16="http://schemas.microsoft.com/office/drawing/2014/main" id="{3A5AD045-B03F-3284-CAE4-AF5736C0B2F7}"/>
                </a:ext>
              </a:extLst>
            </p:cNvPr>
            <p:cNvSpPr>
              <a:spLocks/>
            </p:cNvSpPr>
            <p:nvPr/>
          </p:nvSpPr>
          <p:spPr bwMode="auto">
            <a:xfrm>
              <a:off x="2708" y="2355"/>
              <a:ext cx="20" cy="20"/>
            </a:xfrm>
            <a:custGeom>
              <a:avLst/>
              <a:gdLst>
                <a:gd name="T0" fmla="*/ 16 w 17"/>
                <a:gd name="T1" fmla="*/ 0 h 17"/>
                <a:gd name="T2" fmla="*/ 0 w 17"/>
                <a:gd name="T3" fmla="*/ 0 h 17"/>
                <a:gd name="T4" fmla="*/ 0 w 17"/>
                <a:gd name="T5" fmla="*/ 8 h 17"/>
                <a:gd name="T6" fmla="*/ 0 w 17"/>
                <a:gd name="T7" fmla="*/ 16 h 17"/>
                <a:gd name="T8" fmla="*/ 16 w 17"/>
                <a:gd name="T9" fmla="*/ 16 h 17"/>
                <a:gd name="T10" fmla="*/ 16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16" y="0"/>
                  </a:moveTo>
                  <a:lnTo>
                    <a:pt x="0" y="0"/>
                  </a:lnTo>
                  <a:lnTo>
                    <a:pt x="0" y="8"/>
                  </a:lnTo>
                  <a:lnTo>
                    <a:pt x="0" y="16"/>
                  </a:lnTo>
                  <a:lnTo>
                    <a:pt x="16" y="16"/>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4" name="Freeform 28">
              <a:extLst>
                <a:ext uri="{FF2B5EF4-FFF2-40B4-BE49-F238E27FC236}">
                  <a16:creationId xmlns:a16="http://schemas.microsoft.com/office/drawing/2014/main" id="{4A7A3AAB-EF4E-2573-977F-F668FB3C52CC}"/>
                </a:ext>
              </a:extLst>
            </p:cNvPr>
            <p:cNvSpPr>
              <a:spLocks/>
            </p:cNvSpPr>
            <p:nvPr/>
          </p:nvSpPr>
          <p:spPr bwMode="auto">
            <a:xfrm>
              <a:off x="2714" y="2357"/>
              <a:ext cx="20" cy="20"/>
            </a:xfrm>
            <a:custGeom>
              <a:avLst/>
              <a:gdLst>
                <a:gd name="T0" fmla="*/ 16 w 17"/>
                <a:gd name="T1" fmla="*/ 0 h 17"/>
                <a:gd name="T2" fmla="*/ 8 w 17"/>
                <a:gd name="T3" fmla="*/ 0 h 17"/>
                <a:gd name="T4" fmla="*/ 4 w 17"/>
                <a:gd name="T5" fmla="*/ 4 h 17"/>
                <a:gd name="T6" fmla="*/ 0 w 17"/>
                <a:gd name="T7" fmla="*/ 8 h 17"/>
                <a:gd name="T8" fmla="*/ 0 w 17"/>
                <a:gd name="T9" fmla="*/ 12 h 17"/>
                <a:gd name="T10" fmla="*/ 4 w 17"/>
                <a:gd name="T11" fmla="*/ 16 h 17"/>
                <a:gd name="T12" fmla="*/ 8 w 17"/>
                <a:gd name="T13" fmla="*/ 16 h 17"/>
                <a:gd name="T14" fmla="*/ 12 w 17"/>
                <a:gd name="T15" fmla="*/ 12 h 17"/>
                <a:gd name="T16" fmla="*/ 12 w 17"/>
                <a:gd name="T17" fmla="*/ 8 h 17"/>
                <a:gd name="T18" fmla="*/ 16 w 17"/>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6" y="0"/>
                  </a:moveTo>
                  <a:lnTo>
                    <a:pt x="8" y="0"/>
                  </a:lnTo>
                  <a:lnTo>
                    <a:pt x="4" y="4"/>
                  </a:lnTo>
                  <a:lnTo>
                    <a:pt x="0" y="8"/>
                  </a:lnTo>
                  <a:lnTo>
                    <a:pt x="0" y="12"/>
                  </a:lnTo>
                  <a:lnTo>
                    <a:pt x="4" y="16"/>
                  </a:lnTo>
                  <a:lnTo>
                    <a:pt x="8" y="16"/>
                  </a:lnTo>
                  <a:lnTo>
                    <a:pt x="12" y="12"/>
                  </a:lnTo>
                  <a:lnTo>
                    <a:pt x="12" y="8"/>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5" name="Freeform 29">
              <a:extLst>
                <a:ext uri="{FF2B5EF4-FFF2-40B4-BE49-F238E27FC236}">
                  <a16:creationId xmlns:a16="http://schemas.microsoft.com/office/drawing/2014/main" id="{276783C8-8AEB-744D-9380-F0AC25CF25A9}"/>
                </a:ext>
              </a:extLst>
            </p:cNvPr>
            <p:cNvSpPr>
              <a:spLocks/>
            </p:cNvSpPr>
            <p:nvPr/>
          </p:nvSpPr>
          <p:spPr bwMode="auto">
            <a:xfrm>
              <a:off x="2655" y="2239"/>
              <a:ext cx="168" cy="139"/>
            </a:xfrm>
            <a:custGeom>
              <a:avLst/>
              <a:gdLst>
                <a:gd name="T0" fmla="*/ 70 w 145"/>
                <a:gd name="T1" fmla="*/ 85 h 122"/>
                <a:gd name="T2" fmla="*/ 65 w 145"/>
                <a:gd name="T3" fmla="*/ 90 h 122"/>
                <a:gd name="T4" fmla="*/ 59 w 145"/>
                <a:gd name="T5" fmla="*/ 88 h 122"/>
                <a:gd name="T6" fmla="*/ 54 w 145"/>
                <a:gd name="T7" fmla="*/ 87 h 122"/>
                <a:gd name="T8" fmla="*/ 44 w 145"/>
                <a:gd name="T9" fmla="*/ 89 h 122"/>
                <a:gd name="T10" fmla="*/ 34 w 145"/>
                <a:gd name="T11" fmla="*/ 89 h 122"/>
                <a:gd name="T12" fmla="*/ 25 w 145"/>
                <a:gd name="T13" fmla="*/ 89 h 122"/>
                <a:gd name="T14" fmla="*/ 19 w 145"/>
                <a:gd name="T15" fmla="*/ 95 h 122"/>
                <a:gd name="T16" fmla="*/ 9 w 145"/>
                <a:gd name="T17" fmla="*/ 99 h 122"/>
                <a:gd name="T18" fmla="*/ 0 w 145"/>
                <a:gd name="T19" fmla="*/ 101 h 122"/>
                <a:gd name="T20" fmla="*/ 8 w 145"/>
                <a:gd name="T21" fmla="*/ 107 h 122"/>
                <a:gd name="T22" fmla="*/ 13 w 145"/>
                <a:gd name="T23" fmla="*/ 109 h 122"/>
                <a:gd name="T24" fmla="*/ 23 w 145"/>
                <a:gd name="T25" fmla="*/ 106 h 122"/>
                <a:gd name="T26" fmla="*/ 32 w 145"/>
                <a:gd name="T27" fmla="*/ 105 h 122"/>
                <a:gd name="T28" fmla="*/ 42 w 145"/>
                <a:gd name="T29" fmla="*/ 103 h 122"/>
                <a:gd name="T30" fmla="*/ 50 w 145"/>
                <a:gd name="T31" fmla="*/ 101 h 122"/>
                <a:gd name="T32" fmla="*/ 58 w 145"/>
                <a:gd name="T33" fmla="*/ 102 h 122"/>
                <a:gd name="T34" fmla="*/ 60 w 145"/>
                <a:gd name="T35" fmla="*/ 105 h 122"/>
                <a:gd name="T36" fmla="*/ 56 w 145"/>
                <a:gd name="T37" fmla="*/ 113 h 122"/>
                <a:gd name="T38" fmla="*/ 61 w 145"/>
                <a:gd name="T39" fmla="*/ 118 h 122"/>
                <a:gd name="T40" fmla="*/ 67 w 145"/>
                <a:gd name="T41" fmla="*/ 120 h 122"/>
                <a:gd name="T42" fmla="*/ 73 w 145"/>
                <a:gd name="T43" fmla="*/ 109 h 122"/>
                <a:gd name="T44" fmla="*/ 79 w 145"/>
                <a:gd name="T45" fmla="*/ 106 h 122"/>
                <a:gd name="T46" fmla="*/ 76 w 145"/>
                <a:gd name="T47" fmla="*/ 99 h 122"/>
                <a:gd name="T48" fmla="*/ 79 w 145"/>
                <a:gd name="T49" fmla="*/ 99 h 122"/>
                <a:gd name="T50" fmla="*/ 80 w 145"/>
                <a:gd name="T51" fmla="*/ 101 h 122"/>
                <a:gd name="T52" fmla="*/ 84 w 145"/>
                <a:gd name="T53" fmla="*/ 102 h 122"/>
                <a:gd name="T54" fmla="*/ 88 w 145"/>
                <a:gd name="T55" fmla="*/ 101 h 122"/>
                <a:gd name="T56" fmla="*/ 96 w 145"/>
                <a:gd name="T57" fmla="*/ 104 h 122"/>
                <a:gd name="T58" fmla="*/ 105 w 145"/>
                <a:gd name="T59" fmla="*/ 97 h 122"/>
                <a:gd name="T60" fmla="*/ 109 w 145"/>
                <a:gd name="T61" fmla="*/ 101 h 122"/>
                <a:gd name="T62" fmla="*/ 114 w 145"/>
                <a:gd name="T63" fmla="*/ 94 h 122"/>
                <a:gd name="T64" fmla="*/ 116 w 145"/>
                <a:gd name="T65" fmla="*/ 89 h 122"/>
                <a:gd name="T66" fmla="*/ 120 w 145"/>
                <a:gd name="T67" fmla="*/ 92 h 122"/>
                <a:gd name="T68" fmla="*/ 121 w 145"/>
                <a:gd name="T69" fmla="*/ 97 h 122"/>
                <a:gd name="T70" fmla="*/ 130 w 145"/>
                <a:gd name="T71" fmla="*/ 87 h 122"/>
                <a:gd name="T72" fmla="*/ 130 w 145"/>
                <a:gd name="T73" fmla="*/ 70 h 122"/>
                <a:gd name="T74" fmla="*/ 136 w 145"/>
                <a:gd name="T75" fmla="*/ 46 h 122"/>
                <a:gd name="T76" fmla="*/ 139 w 145"/>
                <a:gd name="T77" fmla="*/ 40 h 122"/>
                <a:gd name="T78" fmla="*/ 141 w 145"/>
                <a:gd name="T79" fmla="*/ 21 h 122"/>
                <a:gd name="T80" fmla="*/ 135 w 145"/>
                <a:gd name="T81" fmla="*/ 9 h 122"/>
                <a:gd name="T82" fmla="*/ 131 w 145"/>
                <a:gd name="T83" fmla="*/ 1 h 122"/>
                <a:gd name="T84" fmla="*/ 130 w 145"/>
                <a:gd name="T85" fmla="*/ 5 h 122"/>
                <a:gd name="T86" fmla="*/ 132 w 145"/>
                <a:gd name="T87" fmla="*/ 9 h 122"/>
                <a:gd name="T88" fmla="*/ 127 w 145"/>
                <a:gd name="T89" fmla="*/ 10 h 122"/>
                <a:gd name="T90" fmla="*/ 123 w 145"/>
                <a:gd name="T91" fmla="*/ 6 h 122"/>
                <a:gd name="T92" fmla="*/ 119 w 145"/>
                <a:gd name="T93" fmla="*/ 12 h 122"/>
                <a:gd name="T94" fmla="*/ 117 w 145"/>
                <a:gd name="T95" fmla="*/ 24 h 122"/>
                <a:gd name="T96" fmla="*/ 120 w 145"/>
                <a:gd name="T97" fmla="*/ 32 h 122"/>
                <a:gd name="T98" fmla="*/ 114 w 145"/>
                <a:gd name="T99" fmla="*/ 46 h 122"/>
                <a:gd name="T100" fmla="*/ 104 w 145"/>
                <a:gd name="T101" fmla="*/ 57 h 122"/>
                <a:gd name="T102" fmla="*/ 86 w 145"/>
                <a:gd name="T103" fmla="*/ 71 h 122"/>
                <a:gd name="T104" fmla="*/ 82 w 145"/>
                <a:gd name="T105" fmla="*/ 65 h 122"/>
                <a:gd name="T106" fmla="*/ 81 w 145"/>
                <a:gd name="T107"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122">
                  <a:moveTo>
                    <a:pt x="71" y="79"/>
                  </a:moveTo>
                  <a:lnTo>
                    <a:pt x="70" y="80"/>
                  </a:lnTo>
                  <a:lnTo>
                    <a:pt x="69" y="81"/>
                  </a:lnTo>
                  <a:lnTo>
                    <a:pt x="68" y="83"/>
                  </a:lnTo>
                  <a:lnTo>
                    <a:pt x="69" y="84"/>
                  </a:lnTo>
                  <a:lnTo>
                    <a:pt x="70" y="85"/>
                  </a:lnTo>
                  <a:lnTo>
                    <a:pt x="70" y="86"/>
                  </a:lnTo>
                  <a:lnTo>
                    <a:pt x="69" y="87"/>
                  </a:lnTo>
                  <a:lnTo>
                    <a:pt x="68" y="88"/>
                  </a:lnTo>
                  <a:lnTo>
                    <a:pt x="67" y="88"/>
                  </a:lnTo>
                  <a:lnTo>
                    <a:pt x="66" y="89"/>
                  </a:lnTo>
                  <a:lnTo>
                    <a:pt x="65" y="90"/>
                  </a:lnTo>
                  <a:lnTo>
                    <a:pt x="64" y="90"/>
                  </a:lnTo>
                  <a:lnTo>
                    <a:pt x="63" y="89"/>
                  </a:lnTo>
                  <a:lnTo>
                    <a:pt x="62" y="89"/>
                  </a:lnTo>
                  <a:lnTo>
                    <a:pt x="61" y="89"/>
                  </a:lnTo>
                  <a:lnTo>
                    <a:pt x="60" y="89"/>
                  </a:lnTo>
                  <a:lnTo>
                    <a:pt x="59" y="88"/>
                  </a:lnTo>
                  <a:lnTo>
                    <a:pt x="60" y="87"/>
                  </a:lnTo>
                  <a:lnTo>
                    <a:pt x="60" y="86"/>
                  </a:lnTo>
                  <a:lnTo>
                    <a:pt x="59" y="86"/>
                  </a:lnTo>
                  <a:lnTo>
                    <a:pt x="57" y="87"/>
                  </a:lnTo>
                  <a:lnTo>
                    <a:pt x="56" y="87"/>
                  </a:lnTo>
                  <a:lnTo>
                    <a:pt x="54" y="87"/>
                  </a:lnTo>
                  <a:lnTo>
                    <a:pt x="50" y="87"/>
                  </a:lnTo>
                  <a:lnTo>
                    <a:pt x="48" y="87"/>
                  </a:lnTo>
                  <a:lnTo>
                    <a:pt x="47" y="87"/>
                  </a:lnTo>
                  <a:lnTo>
                    <a:pt x="46" y="88"/>
                  </a:lnTo>
                  <a:lnTo>
                    <a:pt x="45" y="89"/>
                  </a:lnTo>
                  <a:lnTo>
                    <a:pt x="44" y="89"/>
                  </a:lnTo>
                  <a:lnTo>
                    <a:pt x="41" y="89"/>
                  </a:lnTo>
                  <a:lnTo>
                    <a:pt x="40" y="89"/>
                  </a:lnTo>
                  <a:lnTo>
                    <a:pt x="39" y="88"/>
                  </a:lnTo>
                  <a:lnTo>
                    <a:pt x="37" y="88"/>
                  </a:lnTo>
                  <a:lnTo>
                    <a:pt x="36" y="89"/>
                  </a:lnTo>
                  <a:lnTo>
                    <a:pt x="34" y="89"/>
                  </a:lnTo>
                  <a:lnTo>
                    <a:pt x="33" y="88"/>
                  </a:lnTo>
                  <a:lnTo>
                    <a:pt x="32" y="87"/>
                  </a:lnTo>
                  <a:lnTo>
                    <a:pt x="30" y="87"/>
                  </a:lnTo>
                  <a:lnTo>
                    <a:pt x="29" y="88"/>
                  </a:lnTo>
                  <a:lnTo>
                    <a:pt x="27" y="88"/>
                  </a:lnTo>
                  <a:lnTo>
                    <a:pt x="25" y="89"/>
                  </a:lnTo>
                  <a:lnTo>
                    <a:pt x="25" y="90"/>
                  </a:lnTo>
                  <a:lnTo>
                    <a:pt x="24" y="91"/>
                  </a:lnTo>
                  <a:lnTo>
                    <a:pt x="24" y="93"/>
                  </a:lnTo>
                  <a:lnTo>
                    <a:pt x="22" y="94"/>
                  </a:lnTo>
                  <a:lnTo>
                    <a:pt x="21" y="95"/>
                  </a:lnTo>
                  <a:lnTo>
                    <a:pt x="19" y="95"/>
                  </a:lnTo>
                  <a:lnTo>
                    <a:pt x="18" y="96"/>
                  </a:lnTo>
                  <a:lnTo>
                    <a:pt x="17" y="95"/>
                  </a:lnTo>
                  <a:lnTo>
                    <a:pt x="15" y="95"/>
                  </a:lnTo>
                  <a:lnTo>
                    <a:pt x="14" y="97"/>
                  </a:lnTo>
                  <a:lnTo>
                    <a:pt x="12" y="97"/>
                  </a:lnTo>
                  <a:lnTo>
                    <a:pt x="9" y="99"/>
                  </a:lnTo>
                  <a:lnTo>
                    <a:pt x="8" y="100"/>
                  </a:lnTo>
                  <a:lnTo>
                    <a:pt x="6" y="100"/>
                  </a:lnTo>
                  <a:lnTo>
                    <a:pt x="5" y="100"/>
                  </a:lnTo>
                  <a:lnTo>
                    <a:pt x="4" y="100"/>
                  </a:lnTo>
                  <a:lnTo>
                    <a:pt x="2" y="100"/>
                  </a:lnTo>
                  <a:lnTo>
                    <a:pt x="0" y="101"/>
                  </a:lnTo>
                  <a:lnTo>
                    <a:pt x="0" y="102"/>
                  </a:lnTo>
                  <a:lnTo>
                    <a:pt x="1" y="103"/>
                  </a:lnTo>
                  <a:lnTo>
                    <a:pt x="3" y="107"/>
                  </a:lnTo>
                  <a:lnTo>
                    <a:pt x="5" y="106"/>
                  </a:lnTo>
                  <a:lnTo>
                    <a:pt x="6" y="107"/>
                  </a:lnTo>
                  <a:lnTo>
                    <a:pt x="8" y="107"/>
                  </a:lnTo>
                  <a:lnTo>
                    <a:pt x="9" y="106"/>
                  </a:lnTo>
                  <a:lnTo>
                    <a:pt x="10" y="106"/>
                  </a:lnTo>
                  <a:lnTo>
                    <a:pt x="12" y="105"/>
                  </a:lnTo>
                  <a:lnTo>
                    <a:pt x="13" y="106"/>
                  </a:lnTo>
                  <a:lnTo>
                    <a:pt x="13" y="107"/>
                  </a:lnTo>
                  <a:lnTo>
                    <a:pt x="13" y="109"/>
                  </a:lnTo>
                  <a:lnTo>
                    <a:pt x="15" y="111"/>
                  </a:lnTo>
                  <a:lnTo>
                    <a:pt x="16" y="110"/>
                  </a:lnTo>
                  <a:lnTo>
                    <a:pt x="18" y="108"/>
                  </a:lnTo>
                  <a:lnTo>
                    <a:pt x="20" y="107"/>
                  </a:lnTo>
                  <a:lnTo>
                    <a:pt x="22" y="105"/>
                  </a:lnTo>
                  <a:lnTo>
                    <a:pt x="23" y="106"/>
                  </a:lnTo>
                  <a:lnTo>
                    <a:pt x="25" y="107"/>
                  </a:lnTo>
                  <a:lnTo>
                    <a:pt x="26" y="106"/>
                  </a:lnTo>
                  <a:lnTo>
                    <a:pt x="28" y="106"/>
                  </a:lnTo>
                  <a:lnTo>
                    <a:pt x="29" y="106"/>
                  </a:lnTo>
                  <a:lnTo>
                    <a:pt x="31" y="106"/>
                  </a:lnTo>
                  <a:lnTo>
                    <a:pt x="32" y="105"/>
                  </a:lnTo>
                  <a:lnTo>
                    <a:pt x="35" y="104"/>
                  </a:lnTo>
                  <a:lnTo>
                    <a:pt x="36" y="104"/>
                  </a:lnTo>
                  <a:lnTo>
                    <a:pt x="38" y="104"/>
                  </a:lnTo>
                  <a:lnTo>
                    <a:pt x="39" y="104"/>
                  </a:lnTo>
                  <a:lnTo>
                    <a:pt x="41" y="104"/>
                  </a:lnTo>
                  <a:lnTo>
                    <a:pt x="42" y="103"/>
                  </a:lnTo>
                  <a:lnTo>
                    <a:pt x="43" y="102"/>
                  </a:lnTo>
                  <a:lnTo>
                    <a:pt x="44" y="102"/>
                  </a:lnTo>
                  <a:lnTo>
                    <a:pt x="45" y="102"/>
                  </a:lnTo>
                  <a:lnTo>
                    <a:pt x="46" y="101"/>
                  </a:lnTo>
                  <a:lnTo>
                    <a:pt x="49" y="101"/>
                  </a:lnTo>
                  <a:lnTo>
                    <a:pt x="50" y="101"/>
                  </a:lnTo>
                  <a:lnTo>
                    <a:pt x="52" y="101"/>
                  </a:lnTo>
                  <a:lnTo>
                    <a:pt x="54" y="102"/>
                  </a:lnTo>
                  <a:lnTo>
                    <a:pt x="55" y="102"/>
                  </a:lnTo>
                  <a:lnTo>
                    <a:pt x="56" y="103"/>
                  </a:lnTo>
                  <a:lnTo>
                    <a:pt x="57" y="103"/>
                  </a:lnTo>
                  <a:lnTo>
                    <a:pt x="58" y="102"/>
                  </a:lnTo>
                  <a:lnTo>
                    <a:pt x="59" y="102"/>
                  </a:lnTo>
                  <a:lnTo>
                    <a:pt x="60" y="102"/>
                  </a:lnTo>
                  <a:lnTo>
                    <a:pt x="61" y="102"/>
                  </a:lnTo>
                  <a:lnTo>
                    <a:pt x="61" y="103"/>
                  </a:lnTo>
                  <a:lnTo>
                    <a:pt x="61" y="104"/>
                  </a:lnTo>
                  <a:lnTo>
                    <a:pt x="60" y="105"/>
                  </a:lnTo>
                  <a:lnTo>
                    <a:pt x="59" y="106"/>
                  </a:lnTo>
                  <a:lnTo>
                    <a:pt x="58" y="108"/>
                  </a:lnTo>
                  <a:lnTo>
                    <a:pt x="57" y="108"/>
                  </a:lnTo>
                  <a:lnTo>
                    <a:pt x="56" y="110"/>
                  </a:lnTo>
                  <a:lnTo>
                    <a:pt x="56" y="112"/>
                  </a:lnTo>
                  <a:lnTo>
                    <a:pt x="56" y="113"/>
                  </a:lnTo>
                  <a:lnTo>
                    <a:pt x="56" y="114"/>
                  </a:lnTo>
                  <a:lnTo>
                    <a:pt x="56" y="116"/>
                  </a:lnTo>
                  <a:lnTo>
                    <a:pt x="57" y="117"/>
                  </a:lnTo>
                  <a:lnTo>
                    <a:pt x="58" y="117"/>
                  </a:lnTo>
                  <a:lnTo>
                    <a:pt x="60" y="117"/>
                  </a:lnTo>
                  <a:lnTo>
                    <a:pt x="61" y="118"/>
                  </a:lnTo>
                  <a:lnTo>
                    <a:pt x="62" y="119"/>
                  </a:lnTo>
                  <a:lnTo>
                    <a:pt x="62" y="120"/>
                  </a:lnTo>
                  <a:lnTo>
                    <a:pt x="63" y="120"/>
                  </a:lnTo>
                  <a:lnTo>
                    <a:pt x="64" y="121"/>
                  </a:lnTo>
                  <a:lnTo>
                    <a:pt x="65" y="121"/>
                  </a:lnTo>
                  <a:lnTo>
                    <a:pt x="67" y="120"/>
                  </a:lnTo>
                  <a:lnTo>
                    <a:pt x="68" y="118"/>
                  </a:lnTo>
                  <a:lnTo>
                    <a:pt x="69" y="116"/>
                  </a:lnTo>
                  <a:lnTo>
                    <a:pt x="70" y="114"/>
                  </a:lnTo>
                  <a:lnTo>
                    <a:pt x="71" y="112"/>
                  </a:lnTo>
                  <a:lnTo>
                    <a:pt x="71" y="109"/>
                  </a:lnTo>
                  <a:lnTo>
                    <a:pt x="73" y="109"/>
                  </a:lnTo>
                  <a:lnTo>
                    <a:pt x="75" y="107"/>
                  </a:lnTo>
                  <a:lnTo>
                    <a:pt x="77" y="107"/>
                  </a:lnTo>
                  <a:lnTo>
                    <a:pt x="79" y="108"/>
                  </a:lnTo>
                  <a:lnTo>
                    <a:pt x="80" y="109"/>
                  </a:lnTo>
                  <a:lnTo>
                    <a:pt x="80" y="107"/>
                  </a:lnTo>
                  <a:lnTo>
                    <a:pt x="79" y="106"/>
                  </a:lnTo>
                  <a:lnTo>
                    <a:pt x="79" y="105"/>
                  </a:lnTo>
                  <a:lnTo>
                    <a:pt x="77" y="104"/>
                  </a:lnTo>
                  <a:lnTo>
                    <a:pt x="76" y="103"/>
                  </a:lnTo>
                  <a:lnTo>
                    <a:pt x="75" y="102"/>
                  </a:lnTo>
                  <a:lnTo>
                    <a:pt x="75" y="101"/>
                  </a:lnTo>
                  <a:lnTo>
                    <a:pt x="76" y="99"/>
                  </a:lnTo>
                  <a:lnTo>
                    <a:pt x="76" y="98"/>
                  </a:lnTo>
                  <a:lnTo>
                    <a:pt x="78" y="97"/>
                  </a:lnTo>
                  <a:lnTo>
                    <a:pt x="79" y="96"/>
                  </a:lnTo>
                  <a:lnTo>
                    <a:pt x="79" y="97"/>
                  </a:lnTo>
                  <a:lnTo>
                    <a:pt x="79" y="98"/>
                  </a:lnTo>
                  <a:lnTo>
                    <a:pt x="79" y="99"/>
                  </a:lnTo>
                  <a:lnTo>
                    <a:pt x="79" y="100"/>
                  </a:lnTo>
                  <a:lnTo>
                    <a:pt x="78" y="101"/>
                  </a:lnTo>
                  <a:lnTo>
                    <a:pt x="79" y="102"/>
                  </a:lnTo>
                  <a:lnTo>
                    <a:pt x="80" y="103"/>
                  </a:lnTo>
                  <a:lnTo>
                    <a:pt x="80" y="102"/>
                  </a:lnTo>
                  <a:lnTo>
                    <a:pt x="80" y="101"/>
                  </a:lnTo>
                  <a:lnTo>
                    <a:pt x="80" y="100"/>
                  </a:lnTo>
                  <a:lnTo>
                    <a:pt x="81" y="101"/>
                  </a:lnTo>
                  <a:lnTo>
                    <a:pt x="83" y="100"/>
                  </a:lnTo>
                  <a:lnTo>
                    <a:pt x="84" y="100"/>
                  </a:lnTo>
                  <a:lnTo>
                    <a:pt x="85" y="101"/>
                  </a:lnTo>
                  <a:lnTo>
                    <a:pt x="84" y="102"/>
                  </a:lnTo>
                  <a:lnTo>
                    <a:pt x="83" y="103"/>
                  </a:lnTo>
                  <a:lnTo>
                    <a:pt x="83" y="104"/>
                  </a:lnTo>
                  <a:lnTo>
                    <a:pt x="85" y="104"/>
                  </a:lnTo>
                  <a:lnTo>
                    <a:pt x="86" y="103"/>
                  </a:lnTo>
                  <a:lnTo>
                    <a:pt x="87" y="102"/>
                  </a:lnTo>
                  <a:lnTo>
                    <a:pt x="88" y="101"/>
                  </a:lnTo>
                  <a:lnTo>
                    <a:pt x="89" y="102"/>
                  </a:lnTo>
                  <a:lnTo>
                    <a:pt x="89" y="103"/>
                  </a:lnTo>
                  <a:lnTo>
                    <a:pt x="90" y="104"/>
                  </a:lnTo>
                  <a:lnTo>
                    <a:pt x="92" y="104"/>
                  </a:lnTo>
                  <a:lnTo>
                    <a:pt x="95" y="104"/>
                  </a:lnTo>
                  <a:lnTo>
                    <a:pt x="96" y="104"/>
                  </a:lnTo>
                  <a:lnTo>
                    <a:pt x="98" y="101"/>
                  </a:lnTo>
                  <a:lnTo>
                    <a:pt x="99" y="100"/>
                  </a:lnTo>
                  <a:lnTo>
                    <a:pt x="100" y="97"/>
                  </a:lnTo>
                  <a:lnTo>
                    <a:pt x="101" y="95"/>
                  </a:lnTo>
                  <a:lnTo>
                    <a:pt x="104" y="95"/>
                  </a:lnTo>
                  <a:lnTo>
                    <a:pt x="105" y="97"/>
                  </a:lnTo>
                  <a:lnTo>
                    <a:pt x="104" y="100"/>
                  </a:lnTo>
                  <a:lnTo>
                    <a:pt x="104" y="102"/>
                  </a:lnTo>
                  <a:lnTo>
                    <a:pt x="105" y="104"/>
                  </a:lnTo>
                  <a:lnTo>
                    <a:pt x="106" y="104"/>
                  </a:lnTo>
                  <a:lnTo>
                    <a:pt x="106" y="102"/>
                  </a:lnTo>
                  <a:lnTo>
                    <a:pt x="109" y="101"/>
                  </a:lnTo>
                  <a:lnTo>
                    <a:pt x="108" y="99"/>
                  </a:lnTo>
                  <a:lnTo>
                    <a:pt x="108" y="97"/>
                  </a:lnTo>
                  <a:lnTo>
                    <a:pt x="108" y="95"/>
                  </a:lnTo>
                  <a:lnTo>
                    <a:pt x="111" y="93"/>
                  </a:lnTo>
                  <a:lnTo>
                    <a:pt x="113" y="93"/>
                  </a:lnTo>
                  <a:lnTo>
                    <a:pt x="114" y="94"/>
                  </a:lnTo>
                  <a:lnTo>
                    <a:pt x="114" y="95"/>
                  </a:lnTo>
                  <a:lnTo>
                    <a:pt x="115" y="96"/>
                  </a:lnTo>
                  <a:lnTo>
                    <a:pt x="116" y="95"/>
                  </a:lnTo>
                  <a:lnTo>
                    <a:pt x="116" y="93"/>
                  </a:lnTo>
                  <a:lnTo>
                    <a:pt x="115" y="92"/>
                  </a:lnTo>
                  <a:lnTo>
                    <a:pt x="116" y="89"/>
                  </a:lnTo>
                  <a:lnTo>
                    <a:pt x="118" y="88"/>
                  </a:lnTo>
                  <a:lnTo>
                    <a:pt x="119" y="87"/>
                  </a:lnTo>
                  <a:lnTo>
                    <a:pt x="121" y="88"/>
                  </a:lnTo>
                  <a:lnTo>
                    <a:pt x="122" y="89"/>
                  </a:lnTo>
                  <a:lnTo>
                    <a:pt x="122" y="91"/>
                  </a:lnTo>
                  <a:lnTo>
                    <a:pt x="120" y="92"/>
                  </a:lnTo>
                  <a:lnTo>
                    <a:pt x="119" y="94"/>
                  </a:lnTo>
                  <a:lnTo>
                    <a:pt x="119" y="96"/>
                  </a:lnTo>
                  <a:lnTo>
                    <a:pt x="117" y="98"/>
                  </a:lnTo>
                  <a:lnTo>
                    <a:pt x="119" y="100"/>
                  </a:lnTo>
                  <a:lnTo>
                    <a:pt x="120" y="98"/>
                  </a:lnTo>
                  <a:lnTo>
                    <a:pt x="121" y="97"/>
                  </a:lnTo>
                  <a:lnTo>
                    <a:pt x="123" y="96"/>
                  </a:lnTo>
                  <a:lnTo>
                    <a:pt x="126" y="95"/>
                  </a:lnTo>
                  <a:lnTo>
                    <a:pt x="125" y="93"/>
                  </a:lnTo>
                  <a:lnTo>
                    <a:pt x="126" y="91"/>
                  </a:lnTo>
                  <a:lnTo>
                    <a:pt x="127" y="89"/>
                  </a:lnTo>
                  <a:lnTo>
                    <a:pt x="130" y="87"/>
                  </a:lnTo>
                  <a:lnTo>
                    <a:pt x="131" y="86"/>
                  </a:lnTo>
                  <a:lnTo>
                    <a:pt x="129" y="84"/>
                  </a:lnTo>
                  <a:lnTo>
                    <a:pt x="128" y="82"/>
                  </a:lnTo>
                  <a:lnTo>
                    <a:pt x="127" y="79"/>
                  </a:lnTo>
                  <a:lnTo>
                    <a:pt x="129" y="74"/>
                  </a:lnTo>
                  <a:lnTo>
                    <a:pt x="130" y="70"/>
                  </a:lnTo>
                  <a:lnTo>
                    <a:pt x="132" y="65"/>
                  </a:lnTo>
                  <a:lnTo>
                    <a:pt x="133" y="61"/>
                  </a:lnTo>
                  <a:lnTo>
                    <a:pt x="132" y="55"/>
                  </a:lnTo>
                  <a:lnTo>
                    <a:pt x="132" y="50"/>
                  </a:lnTo>
                  <a:lnTo>
                    <a:pt x="134" y="48"/>
                  </a:lnTo>
                  <a:lnTo>
                    <a:pt x="136" y="46"/>
                  </a:lnTo>
                  <a:lnTo>
                    <a:pt x="137" y="46"/>
                  </a:lnTo>
                  <a:lnTo>
                    <a:pt x="137" y="48"/>
                  </a:lnTo>
                  <a:lnTo>
                    <a:pt x="139" y="48"/>
                  </a:lnTo>
                  <a:lnTo>
                    <a:pt x="139" y="45"/>
                  </a:lnTo>
                  <a:lnTo>
                    <a:pt x="138" y="42"/>
                  </a:lnTo>
                  <a:lnTo>
                    <a:pt x="139" y="40"/>
                  </a:lnTo>
                  <a:lnTo>
                    <a:pt x="141" y="37"/>
                  </a:lnTo>
                  <a:lnTo>
                    <a:pt x="143" y="33"/>
                  </a:lnTo>
                  <a:lnTo>
                    <a:pt x="144" y="30"/>
                  </a:lnTo>
                  <a:lnTo>
                    <a:pt x="143" y="28"/>
                  </a:lnTo>
                  <a:lnTo>
                    <a:pt x="142" y="24"/>
                  </a:lnTo>
                  <a:lnTo>
                    <a:pt x="141" y="21"/>
                  </a:lnTo>
                  <a:lnTo>
                    <a:pt x="140" y="17"/>
                  </a:lnTo>
                  <a:lnTo>
                    <a:pt x="138" y="16"/>
                  </a:lnTo>
                  <a:lnTo>
                    <a:pt x="137" y="16"/>
                  </a:lnTo>
                  <a:lnTo>
                    <a:pt x="136" y="14"/>
                  </a:lnTo>
                  <a:lnTo>
                    <a:pt x="135" y="11"/>
                  </a:lnTo>
                  <a:lnTo>
                    <a:pt x="135" y="9"/>
                  </a:lnTo>
                  <a:lnTo>
                    <a:pt x="135" y="7"/>
                  </a:lnTo>
                  <a:lnTo>
                    <a:pt x="136" y="3"/>
                  </a:lnTo>
                  <a:lnTo>
                    <a:pt x="137" y="1"/>
                  </a:lnTo>
                  <a:lnTo>
                    <a:pt x="135" y="2"/>
                  </a:lnTo>
                  <a:lnTo>
                    <a:pt x="133" y="1"/>
                  </a:lnTo>
                  <a:lnTo>
                    <a:pt x="131" y="1"/>
                  </a:lnTo>
                  <a:lnTo>
                    <a:pt x="130" y="0"/>
                  </a:lnTo>
                  <a:lnTo>
                    <a:pt x="128" y="1"/>
                  </a:lnTo>
                  <a:lnTo>
                    <a:pt x="128" y="4"/>
                  </a:lnTo>
                  <a:lnTo>
                    <a:pt x="128" y="6"/>
                  </a:lnTo>
                  <a:lnTo>
                    <a:pt x="129" y="6"/>
                  </a:lnTo>
                  <a:lnTo>
                    <a:pt x="130" y="5"/>
                  </a:lnTo>
                  <a:lnTo>
                    <a:pt x="131" y="4"/>
                  </a:lnTo>
                  <a:lnTo>
                    <a:pt x="133" y="3"/>
                  </a:lnTo>
                  <a:lnTo>
                    <a:pt x="134" y="5"/>
                  </a:lnTo>
                  <a:lnTo>
                    <a:pt x="134" y="7"/>
                  </a:lnTo>
                  <a:lnTo>
                    <a:pt x="133" y="9"/>
                  </a:lnTo>
                  <a:lnTo>
                    <a:pt x="132" y="9"/>
                  </a:lnTo>
                  <a:lnTo>
                    <a:pt x="130" y="9"/>
                  </a:lnTo>
                  <a:lnTo>
                    <a:pt x="130" y="8"/>
                  </a:lnTo>
                  <a:lnTo>
                    <a:pt x="129" y="8"/>
                  </a:lnTo>
                  <a:lnTo>
                    <a:pt x="129" y="9"/>
                  </a:lnTo>
                  <a:lnTo>
                    <a:pt x="129" y="10"/>
                  </a:lnTo>
                  <a:lnTo>
                    <a:pt x="127" y="10"/>
                  </a:lnTo>
                  <a:lnTo>
                    <a:pt x="126" y="8"/>
                  </a:lnTo>
                  <a:lnTo>
                    <a:pt x="126" y="7"/>
                  </a:lnTo>
                  <a:lnTo>
                    <a:pt x="126" y="5"/>
                  </a:lnTo>
                  <a:lnTo>
                    <a:pt x="124" y="5"/>
                  </a:lnTo>
                  <a:lnTo>
                    <a:pt x="122" y="5"/>
                  </a:lnTo>
                  <a:lnTo>
                    <a:pt x="123" y="6"/>
                  </a:lnTo>
                  <a:lnTo>
                    <a:pt x="123" y="8"/>
                  </a:lnTo>
                  <a:lnTo>
                    <a:pt x="122" y="10"/>
                  </a:lnTo>
                  <a:lnTo>
                    <a:pt x="122" y="11"/>
                  </a:lnTo>
                  <a:lnTo>
                    <a:pt x="121" y="12"/>
                  </a:lnTo>
                  <a:lnTo>
                    <a:pt x="120" y="11"/>
                  </a:lnTo>
                  <a:lnTo>
                    <a:pt x="119" y="12"/>
                  </a:lnTo>
                  <a:lnTo>
                    <a:pt x="118" y="14"/>
                  </a:lnTo>
                  <a:lnTo>
                    <a:pt x="118" y="17"/>
                  </a:lnTo>
                  <a:lnTo>
                    <a:pt x="119" y="19"/>
                  </a:lnTo>
                  <a:lnTo>
                    <a:pt x="119" y="20"/>
                  </a:lnTo>
                  <a:lnTo>
                    <a:pt x="118" y="22"/>
                  </a:lnTo>
                  <a:lnTo>
                    <a:pt x="117" y="24"/>
                  </a:lnTo>
                  <a:lnTo>
                    <a:pt x="114" y="24"/>
                  </a:lnTo>
                  <a:lnTo>
                    <a:pt x="115" y="26"/>
                  </a:lnTo>
                  <a:lnTo>
                    <a:pt x="117" y="26"/>
                  </a:lnTo>
                  <a:lnTo>
                    <a:pt x="120" y="27"/>
                  </a:lnTo>
                  <a:lnTo>
                    <a:pt x="120" y="30"/>
                  </a:lnTo>
                  <a:lnTo>
                    <a:pt x="120" y="32"/>
                  </a:lnTo>
                  <a:lnTo>
                    <a:pt x="118" y="35"/>
                  </a:lnTo>
                  <a:lnTo>
                    <a:pt x="118" y="37"/>
                  </a:lnTo>
                  <a:lnTo>
                    <a:pt x="118" y="39"/>
                  </a:lnTo>
                  <a:lnTo>
                    <a:pt x="117" y="40"/>
                  </a:lnTo>
                  <a:lnTo>
                    <a:pt x="115" y="43"/>
                  </a:lnTo>
                  <a:lnTo>
                    <a:pt x="114" y="46"/>
                  </a:lnTo>
                  <a:lnTo>
                    <a:pt x="113" y="50"/>
                  </a:lnTo>
                  <a:lnTo>
                    <a:pt x="112" y="52"/>
                  </a:lnTo>
                  <a:lnTo>
                    <a:pt x="110" y="53"/>
                  </a:lnTo>
                  <a:lnTo>
                    <a:pt x="107" y="54"/>
                  </a:lnTo>
                  <a:lnTo>
                    <a:pt x="104" y="55"/>
                  </a:lnTo>
                  <a:lnTo>
                    <a:pt x="104" y="57"/>
                  </a:lnTo>
                  <a:lnTo>
                    <a:pt x="103" y="60"/>
                  </a:lnTo>
                  <a:lnTo>
                    <a:pt x="99" y="63"/>
                  </a:lnTo>
                  <a:lnTo>
                    <a:pt x="95" y="66"/>
                  </a:lnTo>
                  <a:lnTo>
                    <a:pt x="92" y="66"/>
                  </a:lnTo>
                  <a:lnTo>
                    <a:pt x="88" y="68"/>
                  </a:lnTo>
                  <a:lnTo>
                    <a:pt x="86" y="71"/>
                  </a:lnTo>
                  <a:lnTo>
                    <a:pt x="84" y="71"/>
                  </a:lnTo>
                  <a:lnTo>
                    <a:pt x="83" y="70"/>
                  </a:lnTo>
                  <a:lnTo>
                    <a:pt x="83" y="69"/>
                  </a:lnTo>
                  <a:lnTo>
                    <a:pt x="84" y="68"/>
                  </a:lnTo>
                  <a:lnTo>
                    <a:pt x="84" y="66"/>
                  </a:lnTo>
                  <a:lnTo>
                    <a:pt x="82" y="65"/>
                  </a:lnTo>
                  <a:lnTo>
                    <a:pt x="82" y="64"/>
                  </a:lnTo>
                  <a:lnTo>
                    <a:pt x="85" y="64"/>
                  </a:lnTo>
                  <a:lnTo>
                    <a:pt x="86" y="62"/>
                  </a:lnTo>
                  <a:lnTo>
                    <a:pt x="86" y="61"/>
                  </a:lnTo>
                  <a:lnTo>
                    <a:pt x="84" y="61"/>
                  </a:lnTo>
                  <a:lnTo>
                    <a:pt x="81" y="62"/>
                  </a:lnTo>
                  <a:lnTo>
                    <a:pt x="79" y="63"/>
                  </a:lnTo>
                  <a:lnTo>
                    <a:pt x="78" y="71"/>
                  </a:lnTo>
                  <a:lnTo>
                    <a:pt x="75" y="75"/>
                  </a:lnTo>
                  <a:lnTo>
                    <a:pt x="74" y="77"/>
                  </a:lnTo>
                  <a:lnTo>
                    <a:pt x="71" y="79"/>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6" name="Freeform 30">
              <a:extLst>
                <a:ext uri="{FF2B5EF4-FFF2-40B4-BE49-F238E27FC236}">
                  <a16:creationId xmlns:a16="http://schemas.microsoft.com/office/drawing/2014/main" id="{4EE7187F-D675-FA8F-01DB-0AAFF943662E}"/>
                </a:ext>
              </a:extLst>
            </p:cNvPr>
            <p:cNvSpPr>
              <a:spLocks/>
            </p:cNvSpPr>
            <p:nvPr/>
          </p:nvSpPr>
          <p:spPr bwMode="auto">
            <a:xfrm>
              <a:off x="2767" y="2294"/>
              <a:ext cx="20" cy="19"/>
            </a:xfrm>
            <a:custGeom>
              <a:avLst/>
              <a:gdLst>
                <a:gd name="T0" fmla="*/ 2 w 17"/>
                <a:gd name="T1" fmla="*/ 8 h 17"/>
                <a:gd name="T2" fmla="*/ 0 w 17"/>
                <a:gd name="T3" fmla="*/ 6 h 17"/>
                <a:gd name="T4" fmla="*/ 5 w 17"/>
                <a:gd name="T5" fmla="*/ 2 h 17"/>
                <a:gd name="T6" fmla="*/ 8 w 17"/>
                <a:gd name="T7" fmla="*/ 2 h 17"/>
                <a:gd name="T8" fmla="*/ 13 w 17"/>
                <a:gd name="T9" fmla="*/ 0 h 17"/>
                <a:gd name="T10" fmla="*/ 16 w 17"/>
                <a:gd name="T11" fmla="*/ 0 h 17"/>
                <a:gd name="T12" fmla="*/ 13 w 17"/>
                <a:gd name="T13" fmla="*/ 4 h 17"/>
                <a:gd name="T14" fmla="*/ 13 w 17"/>
                <a:gd name="T15" fmla="*/ 8 h 17"/>
                <a:gd name="T16" fmla="*/ 16 w 17"/>
                <a:gd name="T17" fmla="*/ 8 h 17"/>
                <a:gd name="T18" fmla="*/ 16 w 17"/>
                <a:gd name="T19" fmla="*/ 10 h 17"/>
                <a:gd name="T20" fmla="*/ 13 w 17"/>
                <a:gd name="T21" fmla="*/ 12 h 17"/>
                <a:gd name="T22" fmla="*/ 10 w 17"/>
                <a:gd name="T23" fmla="*/ 14 h 17"/>
                <a:gd name="T24" fmla="*/ 8 w 17"/>
                <a:gd name="T25" fmla="*/ 16 h 17"/>
                <a:gd name="T26" fmla="*/ 5 w 17"/>
                <a:gd name="T27" fmla="*/ 16 h 17"/>
                <a:gd name="T28" fmla="*/ 2 w 17"/>
                <a:gd name="T29" fmla="*/ 14 h 17"/>
                <a:gd name="T30" fmla="*/ 5 w 17"/>
                <a:gd name="T31" fmla="*/ 10 h 17"/>
                <a:gd name="T32" fmla="*/ 2 w 17"/>
                <a:gd name="T3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2" y="8"/>
                  </a:moveTo>
                  <a:lnTo>
                    <a:pt x="0" y="6"/>
                  </a:lnTo>
                  <a:lnTo>
                    <a:pt x="5" y="2"/>
                  </a:lnTo>
                  <a:lnTo>
                    <a:pt x="8" y="2"/>
                  </a:lnTo>
                  <a:lnTo>
                    <a:pt x="13" y="0"/>
                  </a:lnTo>
                  <a:lnTo>
                    <a:pt x="16" y="0"/>
                  </a:lnTo>
                  <a:lnTo>
                    <a:pt x="13" y="4"/>
                  </a:lnTo>
                  <a:lnTo>
                    <a:pt x="13" y="8"/>
                  </a:lnTo>
                  <a:lnTo>
                    <a:pt x="16" y="8"/>
                  </a:lnTo>
                  <a:lnTo>
                    <a:pt x="16" y="10"/>
                  </a:lnTo>
                  <a:lnTo>
                    <a:pt x="13" y="12"/>
                  </a:lnTo>
                  <a:lnTo>
                    <a:pt x="10" y="14"/>
                  </a:lnTo>
                  <a:lnTo>
                    <a:pt x="8" y="16"/>
                  </a:lnTo>
                  <a:lnTo>
                    <a:pt x="5" y="16"/>
                  </a:lnTo>
                  <a:lnTo>
                    <a:pt x="2" y="14"/>
                  </a:lnTo>
                  <a:lnTo>
                    <a:pt x="5" y="10"/>
                  </a:lnTo>
                  <a:lnTo>
                    <a:pt x="2" y="8"/>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8" name="Freeform 31">
              <a:extLst>
                <a:ext uri="{FF2B5EF4-FFF2-40B4-BE49-F238E27FC236}">
                  <a16:creationId xmlns:a16="http://schemas.microsoft.com/office/drawing/2014/main" id="{801C095E-F8E0-97D3-6A4E-B9CAA7DFEA37}"/>
                </a:ext>
              </a:extLst>
            </p:cNvPr>
            <p:cNvSpPr>
              <a:spLocks/>
            </p:cNvSpPr>
            <p:nvPr/>
          </p:nvSpPr>
          <p:spPr bwMode="auto">
            <a:xfrm>
              <a:off x="2789" y="2173"/>
              <a:ext cx="83" cy="69"/>
            </a:xfrm>
            <a:custGeom>
              <a:avLst/>
              <a:gdLst>
                <a:gd name="T0" fmla="*/ 19 w 71"/>
                <a:gd name="T1" fmla="*/ 3 h 61"/>
                <a:gd name="T2" fmla="*/ 21 w 71"/>
                <a:gd name="T3" fmla="*/ 9 h 61"/>
                <a:gd name="T4" fmla="*/ 20 w 71"/>
                <a:gd name="T5" fmla="*/ 20 h 61"/>
                <a:gd name="T6" fmla="*/ 18 w 71"/>
                <a:gd name="T7" fmla="*/ 27 h 61"/>
                <a:gd name="T8" fmla="*/ 15 w 71"/>
                <a:gd name="T9" fmla="*/ 34 h 61"/>
                <a:gd name="T10" fmla="*/ 13 w 71"/>
                <a:gd name="T11" fmla="*/ 33 h 61"/>
                <a:gd name="T12" fmla="*/ 8 w 71"/>
                <a:gd name="T13" fmla="*/ 31 h 61"/>
                <a:gd name="T14" fmla="*/ 6 w 71"/>
                <a:gd name="T15" fmla="*/ 34 h 61"/>
                <a:gd name="T16" fmla="*/ 7 w 71"/>
                <a:gd name="T17" fmla="*/ 37 h 61"/>
                <a:gd name="T18" fmla="*/ 0 w 71"/>
                <a:gd name="T19" fmla="*/ 41 h 61"/>
                <a:gd name="T20" fmla="*/ 2 w 71"/>
                <a:gd name="T21" fmla="*/ 48 h 61"/>
                <a:gd name="T22" fmla="*/ 4 w 71"/>
                <a:gd name="T23" fmla="*/ 55 h 61"/>
                <a:gd name="T24" fmla="*/ 5 w 71"/>
                <a:gd name="T25" fmla="*/ 60 h 61"/>
                <a:gd name="T26" fmla="*/ 8 w 71"/>
                <a:gd name="T27" fmla="*/ 56 h 61"/>
                <a:gd name="T28" fmla="*/ 11 w 71"/>
                <a:gd name="T29" fmla="*/ 54 h 61"/>
                <a:gd name="T30" fmla="*/ 14 w 71"/>
                <a:gd name="T31" fmla="*/ 54 h 61"/>
                <a:gd name="T32" fmla="*/ 17 w 71"/>
                <a:gd name="T33" fmla="*/ 53 h 61"/>
                <a:gd name="T34" fmla="*/ 13 w 71"/>
                <a:gd name="T35" fmla="*/ 51 h 61"/>
                <a:gd name="T36" fmla="*/ 8 w 71"/>
                <a:gd name="T37" fmla="*/ 49 h 61"/>
                <a:gd name="T38" fmla="*/ 7 w 71"/>
                <a:gd name="T39" fmla="*/ 45 h 61"/>
                <a:gd name="T40" fmla="*/ 10 w 71"/>
                <a:gd name="T41" fmla="*/ 43 h 61"/>
                <a:gd name="T42" fmla="*/ 13 w 71"/>
                <a:gd name="T43" fmla="*/ 45 h 61"/>
                <a:gd name="T44" fmla="*/ 16 w 71"/>
                <a:gd name="T45" fmla="*/ 44 h 61"/>
                <a:gd name="T46" fmla="*/ 21 w 71"/>
                <a:gd name="T47" fmla="*/ 41 h 61"/>
                <a:gd name="T48" fmla="*/ 27 w 71"/>
                <a:gd name="T49" fmla="*/ 43 h 61"/>
                <a:gd name="T50" fmla="*/ 30 w 71"/>
                <a:gd name="T51" fmla="*/ 46 h 61"/>
                <a:gd name="T52" fmla="*/ 38 w 71"/>
                <a:gd name="T53" fmla="*/ 49 h 61"/>
                <a:gd name="T54" fmla="*/ 41 w 71"/>
                <a:gd name="T55" fmla="*/ 49 h 61"/>
                <a:gd name="T56" fmla="*/ 43 w 71"/>
                <a:gd name="T57" fmla="*/ 43 h 61"/>
                <a:gd name="T58" fmla="*/ 46 w 71"/>
                <a:gd name="T59" fmla="*/ 38 h 61"/>
                <a:gd name="T60" fmla="*/ 53 w 71"/>
                <a:gd name="T61" fmla="*/ 35 h 61"/>
                <a:gd name="T62" fmla="*/ 57 w 71"/>
                <a:gd name="T63" fmla="*/ 33 h 61"/>
                <a:gd name="T64" fmla="*/ 61 w 71"/>
                <a:gd name="T65" fmla="*/ 32 h 61"/>
                <a:gd name="T66" fmla="*/ 65 w 71"/>
                <a:gd name="T67" fmla="*/ 31 h 61"/>
                <a:gd name="T68" fmla="*/ 68 w 71"/>
                <a:gd name="T69" fmla="*/ 28 h 61"/>
                <a:gd name="T70" fmla="*/ 70 w 71"/>
                <a:gd name="T71" fmla="*/ 26 h 61"/>
                <a:gd name="T72" fmla="*/ 68 w 71"/>
                <a:gd name="T73" fmla="*/ 25 h 61"/>
                <a:gd name="T74" fmla="*/ 66 w 71"/>
                <a:gd name="T75" fmla="*/ 27 h 61"/>
                <a:gd name="T76" fmla="*/ 62 w 71"/>
                <a:gd name="T77" fmla="*/ 28 h 61"/>
                <a:gd name="T78" fmla="*/ 61 w 71"/>
                <a:gd name="T79" fmla="*/ 24 h 61"/>
                <a:gd name="T80" fmla="*/ 60 w 71"/>
                <a:gd name="T81" fmla="*/ 21 h 61"/>
                <a:gd name="T82" fmla="*/ 62 w 71"/>
                <a:gd name="T83" fmla="*/ 16 h 61"/>
                <a:gd name="T84" fmla="*/ 60 w 71"/>
                <a:gd name="T85" fmla="*/ 14 h 61"/>
                <a:gd name="T86" fmla="*/ 56 w 71"/>
                <a:gd name="T87" fmla="*/ 19 h 61"/>
                <a:gd name="T88" fmla="*/ 53 w 71"/>
                <a:gd name="T89" fmla="*/ 20 h 61"/>
                <a:gd name="T90" fmla="*/ 49 w 71"/>
                <a:gd name="T91" fmla="*/ 17 h 61"/>
                <a:gd name="T92" fmla="*/ 42 w 71"/>
                <a:gd name="T93" fmla="*/ 16 h 61"/>
                <a:gd name="T94" fmla="*/ 33 w 71"/>
                <a:gd name="T95" fmla="*/ 9 h 61"/>
                <a:gd name="T96" fmla="*/ 26 w 71"/>
                <a:gd name="T97" fmla="*/ 3 h 61"/>
                <a:gd name="T98" fmla="*/ 23 w 71"/>
                <a:gd name="T9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61">
                  <a:moveTo>
                    <a:pt x="20" y="1"/>
                  </a:moveTo>
                  <a:lnTo>
                    <a:pt x="19" y="2"/>
                  </a:lnTo>
                  <a:lnTo>
                    <a:pt x="19" y="3"/>
                  </a:lnTo>
                  <a:lnTo>
                    <a:pt x="20" y="5"/>
                  </a:lnTo>
                  <a:lnTo>
                    <a:pt x="21" y="7"/>
                  </a:lnTo>
                  <a:lnTo>
                    <a:pt x="21" y="9"/>
                  </a:lnTo>
                  <a:lnTo>
                    <a:pt x="21" y="14"/>
                  </a:lnTo>
                  <a:lnTo>
                    <a:pt x="21" y="17"/>
                  </a:lnTo>
                  <a:lnTo>
                    <a:pt x="20" y="20"/>
                  </a:lnTo>
                  <a:lnTo>
                    <a:pt x="20" y="22"/>
                  </a:lnTo>
                  <a:lnTo>
                    <a:pt x="17" y="24"/>
                  </a:lnTo>
                  <a:lnTo>
                    <a:pt x="18" y="27"/>
                  </a:lnTo>
                  <a:lnTo>
                    <a:pt x="18" y="29"/>
                  </a:lnTo>
                  <a:lnTo>
                    <a:pt x="16" y="32"/>
                  </a:lnTo>
                  <a:lnTo>
                    <a:pt x="15" y="34"/>
                  </a:lnTo>
                  <a:lnTo>
                    <a:pt x="14" y="34"/>
                  </a:lnTo>
                  <a:lnTo>
                    <a:pt x="13" y="32"/>
                  </a:lnTo>
                  <a:lnTo>
                    <a:pt x="13" y="33"/>
                  </a:lnTo>
                  <a:lnTo>
                    <a:pt x="11" y="33"/>
                  </a:lnTo>
                  <a:lnTo>
                    <a:pt x="9" y="32"/>
                  </a:lnTo>
                  <a:lnTo>
                    <a:pt x="8" y="31"/>
                  </a:lnTo>
                  <a:lnTo>
                    <a:pt x="7" y="32"/>
                  </a:lnTo>
                  <a:lnTo>
                    <a:pt x="6" y="32"/>
                  </a:lnTo>
                  <a:lnTo>
                    <a:pt x="6" y="34"/>
                  </a:lnTo>
                  <a:lnTo>
                    <a:pt x="7" y="35"/>
                  </a:lnTo>
                  <a:lnTo>
                    <a:pt x="8" y="36"/>
                  </a:lnTo>
                  <a:lnTo>
                    <a:pt x="7" y="37"/>
                  </a:lnTo>
                  <a:lnTo>
                    <a:pt x="6" y="37"/>
                  </a:lnTo>
                  <a:lnTo>
                    <a:pt x="3" y="40"/>
                  </a:lnTo>
                  <a:lnTo>
                    <a:pt x="0" y="41"/>
                  </a:lnTo>
                  <a:lnTo>
                    <a:pt x="1" y="42"/>
                  </a:lnTo>
                  <a:lnTo>
                    <a:pt x="1" y="47"/>
                  </a:lnTo>
                  <a:lnTo>
                    <a:pt x="2" y="48"/>
                  </a:lnTo>
                  <a:lnTo>
                    <a:pt x="4" y="51"/>
                  </a:lnTo>
                  <a:lnTo>
                    <a:pt x="4" y="53"/>
                  </a:lnTo>
                  <a:lnTo>
                    <a:pt x="4" y="55"/>
                  </a:lnTo>
                  <a:lnTo>
                    <a:pt x="3" y="57"/>
                  </a:lnTo>
                  <a:lnTo>
                    <a:pt x="4" y="59"/>
                  </a:lnTo>
                  <a:lnTo>
                    <a:pt x="5" y="60"/>
                  </a:lnTo>
                  <a:lnTo>
                    <a:pt x="7" y="59"/>
                  </a:lnTo>
                  <a:lnTo>
                    <a:pt x="8" y="58"/>
                  </a:lnTo>
                  <a:lnTo>
                    <a:pt x="8" y="56"/>
                  </a:lnTo>
                  <a:lnTo>
                    <a:pt x="10" y="54"/>
                  </a:lnTo>
                  <a:lnTo>
                    <a:pt x="11" y="53"/>
                  </a:lnTo>
                  <a:lnTo>
                    <a:pt x="11" y="54"/>
                  </a:lnTo>
                  <a:lnTo>
                    <a:pt x="12" y="55"/>
                  </a:lnTo>
                  <a:lnTo>
                    <a:pt x="13" y="54"/>
                  </a:lnTo>
                  <a:lnTo>
                    <a:pt x="14" y="54"/>
                  </a:lnTo>
                  <a:lnTo>
                    <a:pt x="15" y="54"/>
                  </a:lnTo>
                  <a:lnTo>
                    <a:pt x="16" y="54"/>
                  </a:lnTo>
                  <a:lnTo>
                    <a:pt x="17" y="53"/>
                  </a:lnTo>
                  <a:lnTo>
                    <a:pt x="16" y="52"/>
                  </a:lnTo>
                  <a:lnTo>
                    <a:pt x="15" y="52"/>
                  </a:lnTo>
                  <a:lnTo>
                    <a:pt x="13" y="51"/>
                  </a:lnTo>
                  <a:lnTo>
                    <a:pt x="12" y="49"/>
                  </a:lnTo>
                  <a:lnTo>
                    <a:pt x="10" y="49"/>
                  </a:lnTo>
                  <a:lnTo>
                    <a:pt x="8" y="49"/>
                  </a:lnTo>
                  <a:lnTo>
                    <a:pt x="7" y="47"/>
                  </a:lnTo>
                  <a:lnTo>
                    <a:pt x="7" y="46"/>
                  </a:lnTo>
                  <a:lnTo>
                    <a:pt x="7" y="45"/>
                  </a:lnTo>
                  <a:lnTo>
                    <a:pt x="7" y="43"/>
                  </a:lnTo>
                  <a:lnTo>
                    <a:pt x="9" y="43"/>
                  </a:lnTo>
                  <a:lnTo>
                    <a:pt x="10" y="43"/>
                  </a:lnTo>
                  <a:lnTo>
                    <a:pt x="11" y="43"/>
                  </a:lnTo>
                  <a:lnTo>
                    <a:pt x="12" y="43"/>
                  </a:lnTo>
                  <a:lnTo>
                    <a:pt x="13" y="45"/>
                  </a:lnTo>
                  <a:lnTo>
                    <a:pt x="14" y="47"/>
                  </a:lnTo>
                  <a:lnTo>
                    <a:pt x="15" y="46"/>
                  </a:lnTo>
                  <a:lnTo>
                    <a:pt x="16" y="44"/>
                  </a:lnTo>
                  <a:lnTo>
                    <a:pt x="18" y="43"/>
                  </a:lnTo>
                  <a:lnTo>
                    <a:pt x="20" y="41"/>
                  </a:lnTo>
                  <a:lnTo>
                    <a:pt x="21" y="41"/>
                  </a:lnTo>
                  <a:lnTo>
                    <a:pt x="23" y="42"/>
                  </a:lnTo>
                  <a:lnTo>
                    <a:pt x="24" y="43"/>
                  </a:lnTo>
                  <a:lnTo>
                    <a:pt x="27" y="43"/>
                  </a:lnTo>
                  <a:lnTo>
                    <a:pt x="28" y="44"/>
                  </a:lnTo>
                  <a:lnTo>
                    <a:pt x="30" y="45"/>
                  </a:lnTo>
                  <a:lnTo>
                    <a:pt x="30" y="46"/>
                  </a:lnTo>
                  <a:lnTo>
                    <a:pt x="33" y="47"/>
                  </a:lnTo>
                  <a:lnTo>
                    <a:pt x="36" y="48"/>
                  </a:lnTo>
                  <a:lnTo>
                    <a:pt x="38" y="49"/>
                  </a:lnTo>
                  <a:lnTo>
                    <a:pt x="40" y="51"/>
                  </a:lnTo>
                  <a:lnTo>
                    <a:pt x="41" y="50"/>
                  </a:lnTo>
                  <a:lnTo>
                    <a:pt x="41" y="49"/>
                  </a:lnTo>
                  <a:lnTo>
                    <a:pt x="41" y="47"/>
                  </a:lnTo>
                  <a:lnTo>
                    <a:pt x="42" y="46"/>
                  </a:lnTo>
                  <a:lnTo>
                    <a:pt x="43" y="43"/>
                  </a:lnTo>
                  <a:lnTo>
                    <a:pt x="44" y="42"/>
                  </a:lnTo>
                  <a:lnTo>
                    <a:pt x="44" y="40"/>
                  </a:lnTo>
                  <a:lnTo>
                    <a:pt x="46" y="38"/>
                  </a:lnTo>
                  <a:lnTo>
                    <a:pt x="48" y="37"/>
                  </a:lnTo>
                  <a:lnTo>
                    <a:pt x="50" y="35"/>
                  </a:lnTo>
                  <a:lnTo>
                    <a:pt x="53" y="35"/>
                  </a:lnTo>
                  <a:lnTo>
                    <a:pt x="55" y="35"/>
                  </a:lnTo>
                  <a:lnTo>
                    <a:pt x="57" y="35"/>
                  </a:lnTo>
                  <a:lnTo>
                    <a:pt x="57" y="33"/>
                  </a:lnTo>
                  <a:lnTo>
                    <a:pt x="59" y="34"/>
                  </a:lnTo>
                  <a:lnTo>
                    <a:pt x="60" y="33"/>
                  </a:lnTo>
                  <a:lnTo>
                    <a:pt x="61" y="32"/>
                  </a:lnTo>
                  <a:lnTo>
                    <a:pt x="62" y="31"/>
                  </a:lnTo>
                  <a:lnTo>
                    <a:pt x="63" y="31"/>
                  </a:lnTo>
                  <a:lnTo>
                    <a:pt x="65" y="31"/>
                  </a:lnTo>
                  <a:lnTo>
                    <a:pt x="66" y="30"/>
                  </a:lnTo>
                  <a:lnTo>
                    <a:pt x="67" y="29"/>
                  </a:lnTo>
                  <a:lnTo>
                    <a:pt x="68" y="28"/>
                  </a:lnTo>
                  <a:lnTo>
                    <a:pt x="69" y="27"/>
                  </a:lnTo>
                  <a:lnTo>
                    <a:pt x="69" y="26"/>
                  </a:lnTo>
                  <a:lnTo>
                    <a:pt x="70" y="26"/>
                  </a:lnTo>
                  <a:lnTo>
                    <a:pt x="70" y="25"/>
                  </a:lnTo>
                  <a:lnTo>
                    <a:pt x="69" y="25"/>
                  </a:lnTo>
                  <a:lnTo>
                    <a:pt x="68" y="25"/>
                  </a:lnTo>
                  <a:lnTo>
                    <a:pt x="68" y="26"/>
                  </a:lnTo>
                  <a:lnTo>
                    <a:pt x="67" y="26"/>
                  </a:lnTo>
                  <a:lnTo>
                    <a:pt x="66" y="27"/>
                  </a:lnTo>
                  <a:lnTo>
                    <a:pt x="64" y="28"/>
                  </a:lnTo>
                  <a:lnTo>
                    <a:pt x="63" y="29"/>
                  </a:lnTo>
                  <a:lnTo>
                    <a:pt x="62" y="28"/>
                  </a:lnTo>
                  <a:lnTo>
                    <a:pt x="62" y="27"/>
                  </a:lnTo>
                  <a:lnTo>
                    <a:pt x="62" y="25"/>
                  </a:lnTo>
                  <a:lnTo>
                    <a:pt x="61" y="24"/>
                  </a:lnTo>
                  <a:lnTo>
                    <a:pt x="60" y="24"/>
                  </a:lnTo>
                  <a:lnTo>
                    <a:pt x="60" y="22"/>
                  </a:lnTo>
                  <a:lnTo>
                    <a:pt x="60" y="21"/>
                  </a:lnTo>
                  <a:lnTo>
                    <a:pt x="59" y="19"/>
                  </a:lnTo>
                  <a:lnTo>
                    <a:pt x="61" y="18"/>
                  </a:lnTo>
                  <a:lnTo>
                    <a:pt x="62" y="16"/>
                  </a:lnTo>
                  <a:lnTo>
                    <a:pt x="62" y="15"/>
                  </a:lnTo>
                  <a:lnTo>
                    <a:pt x="62" y="13"/>
                  </a:lnTo>
                  <a:lnTo>
                    <a:pt x="60" y="14"/>
                  </a:lnTo>
                  <a:lnTo>
                    <a:pt x="59" y="16"/>
                  </a:lnTo>
                  <a:lnTo>
                    <a:pt x="57" y="18"/>
                  </a:lnTo>
                  <a:lnTo>
                    <a:pt x="56" y="19"/>
                  </a:lnTo>
                  <a:lnTo>
                    <a:pt x="55" y="19"/>
                  </a:lnTo>
                  <a:lnTo>
                    <a:pt x="55" y="20"/>
                  </a:lnTo>
                  <a:lnTo>
                    <a:pt x="53" y="20"/>
                  </a:lnTo>
                  <a:lnTo>
                    <a:pt x="52" y="19"/>
                  </a:lnTo>
                  <a:lnTo>
                    <a:pt x="50" y="18"/>
                  </a:lnTo>
                  <a:lnTo>
                    <a:pt x="49" y="17"/>
                  </a:lnTo>
                  <a:lnTo>
                    <a:pt x="46" y="17"/>
                  </a:lnTo>
                  <a:lnTo>
                    <a:pt x="44" y="17"/>
                  </a:lnTo>
                  <a:lnTo>
                    <a:pt x="42" y="16"/>
                  </a:lnTo>
                  <a:lnTo>
                    <a:pt x="38" y="13"/>
                  </a:lnTo>
                  <a:lnTo>
                    <a:pt x="36" y="12"/>
                  </a:lnTo>
                  <a:lnTo>
                    <a:pt x="33" y="9"/>
                  </a:lnTo>
                  <a:lnTo>
                    <a:pt x="31" y="6"/>
                  </a:lnTo>
                  <a:lnTo>
                    <a:pt x="30" y="6"/>
                  </a:lnTo>
                  <a:lnTo>
                    <a:pt x="26" y="3"/>
                  </a:lnTo>
                  <a:lnTo>
                    <a:pt x="25" y="2"/>
                  </a:lnTo>
                  <a:lnTo>
                    <a:pt x="24" y="0"/>
                  </a:lnTo>
                  <a:lnTo>
                    <a:pt x="23" y="0"/>
                  </a:lnTo>
                  <a:lnTo>
                    <a:pt x="21" y="1"/>
                  </a:lnTo>
                  <a:lnTo>
                    <a:pt x="20" y="1"/>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69" name="Freeform 32">
              <a:extLst>
                <a:ext uri="{FF2B5EF4-FFF2-40B4-BE49-F238E27FC236}">
                  <a16:creationId xmlns:a16="http://schemas.microsoft.com/office/drawing/2014/main" id="{312E9AC3-D6B1-7D5E-B983-4CB507311F8E}"/>
                </a:ext>
              </a:extLst>
            </p:cNvPr>
            <p:cNvSpPr>
              <a:spLocks/>
            </p:cNvSpPr>
            <p:nvPr/>
          </p:nvSpPr>
          <p:spPr bwMode="auto">
            <a:xfrm>
              <a:off x="2804" y="2173"/>
              <a:ext cx="20" cy="19"/>
            </a:xfrm>
            <a:custGeom>
              <a:avLst/>
              <a:gdLst>
                <a:gd name="T0" fmla="*/ 16 w 17"/>
                <a:gd name="T1" fmla="*/ 8 h 17"/>
                <a:gd name="T2" fmla="*/ 0 w 17"/>
                <a:gd name="T3" fmla="*/ 0 h 17"/>
                <a:gd name="T4" fmla="*/ 0 w 17"/>
                <a:gd name="T5" fmla="*/ 4 h 17"/>
                <a:gd name="T6" fmla="*/ 0 w 17"/>
                <a:gd name="T7" fmla="*/ 12 h 17"/>
                <a:gd name="T8" fmla="*/ 0 w 17"/>
                <a:gd name="T9" fmla="*/ 16 h 17"/>
                <a:gd name="T10" fmla="*/ 16 w 17"/>
                <a:gd name="T11" fmla="*/ 12 h 17"/>
                <a:gd name="T12" fmla="*/ 16 w 17"/>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6" y="8"/>
                  </a:moveTo>
                  <a:lnTo>
                    <a:pt x="0" y="0"/>
                  </a:lnTo>
                  <a:lnTo>
                    <a:pt x="0" y="4"/>
                  </a:lnTo>
                  <a:lnTo>
                    <a:pt x="0" y="12"/>
                  </a:lnTo>
                  <a:lnTo>
                    <a:pt x="0" y="16"/>
                  </a:lnTo>
                  <a:lnTo>
                    <a:pt x="16" y="12"/>
                  </a:lnTo>
                  <a:lnTo>
                    <a:pt x="16" y="8"/>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0" name="Freeform 33">
              <a:extLst>
                <a:ext uri="{FF2B5EF4-FFF2-40B4-BE49-F238E27FC236}">
                  <a16:creationId xmlns:a16="http://schemas.microsoft.com/office/drawing/2014/main" id="{3731EE74-0775-C5BF-4DD5-F5B8886252CB}"/>
                </a:ext>
              </a:extLst>
            </p:cNvPr>
            <p:cNvSpPr>
              <a:spLocks/>
            </p:cNvSpPr>
            <p:nvPr/>
          </p:nvSpPr>
          <p:spPr bwMode="auto">
            <a:xfrm>
              <a:off x="2806" y="2175"/>
              <a:ext cx="19" cy="20"/>
            </a:xfrm>
            <a:custGeom>
              <a:avLst/>
              <a:gdLst>
                <a:gd name="T0" fmla="*/ 0 w 17"/>
                <a:gd name="T1" fmla="*/ 0 h 17"/>
                <a:gd name="T2" fmla="*/ 0 w 17"/>
                <a:gd name="T3" fmla="*/ 5 h 17"/>
                <a:gd name="T4" fmla="*/ 0 w 17"/>
                <a:gd name="T5" fmla="*/ 10 h 17"/>
                <a:gd name="T6" fmla="*/ 5 w 17"/>
                <a:gd name="T7" fmla="*/ 16 h 17"/>
                <a:gd name="T8" fmla="*/ 10 w 17"/>
                <a:gd name="T9" fmla="*/ 16 h 17"/>
                <a:gd name="T10" fmla="*/ 16 w 17"/>
                <a:gd name="T11" fmla="*/ 10 h 17"/>
                <a:gd name="T12" fmla="*/ 10 w 17"/>
                <a:gd name="T13" fmla="*/ 5 h 17"/>
                <a:gd name="T14" fmla="*/ 0 w 17"/>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0" y="0"/>
                  </a:moveTo>
                  <a:lnTo>
                    <a:pt x="0" y="5"/>
                  </a:lnTo>
                  <a:lnTo>
                    <a:pt x="0" y="10"/>
                  </a:lnTo>
                  <a:lnTo>
                    <a:pt x="5" y="16"/>
                  </a:lnTo>
                  <a:lnTo>
                    <a:pt x="10" y="16"/>
                  </a:lnTo>
                  <a:lnTo>
                    <a:pt x="16" y="10"/>
                  </a:lnTo>
                  <a:lnTo>
                    <a:pt x="10" y="5"/>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1" name="Freeform 34">
              <a:extLst>
                <a:ext uri="{FF2B5EF4-FFF2-40B4-BE49-F238E27FC236}">
                  <a16:creationId xmlns:a16="http://schemas.microsoft.com/office/drawing/2014/main" id="{AD108F01-CFFE-0CFF-7086-B8756639967D}"/>
                </a:ext>
              </a:extLst>
            </p:cNvPr>
            <p:cNvSpPr>
              <a:spLocks/>
            </p:cNvSpPr>
            <p:nvPr/>
          </p:nvSpPr>
          <p:spPr bwMode="auto">
            <a:xfrm>
              <a:off x="2784" y="2231"/>
              <a:ext cx="19" cy="19"/>
            </a:xfrm>
            <a:custGeom>
              <a:avLst/>
              <a:gdLst>
                <a:gd name="T0" fmla="*/ 16 w 17"/>
                <a:gd name="T1" fmla="*/ 0 h 17"/>
                <a:gd name="T2" fmla="*/ 16 w 17"/>
                <a:gd name="T3" fmla="*/ 8 h 17"/>
                <a:gd name="T4" fmla="*/ 16 w 17"/>
                <a:gd name="T5" fmla="*/ 16 h 17"/>
                <a:gd name="T6" fmla="*/ 0 w 17"/>
                <a:gd name="T7" fmla="*/ 16 h 17"/>
                <a:gd name="T8" fmla="*/ 0 w 17"/>
                <a:gd name="T9" fmla="*/ 8 h 17"/>
                <a:gd name="T10" fmla="*/ 16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16" y="0"/>
                  </a:moveTo>
                  <a:lnTo>
                    <a:pt x="16" y="8"/>
                  </a:lnTo>
                  <a:lnTo>
                    <a:pt x="16" y="16"/>
                  </a:lnTo>
                  <a:lnTo>
                    <a:pt x="0" y="16"/>
                  </a:lnTo>
                  <a:lnTo>
                    <a:pt x="0" y="8"/>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2" name="Freeform 35">
              <a:extLst>
                <a:ext uri="{FF2B5EF4-FFF2-40B4-BE49-F238E27FC236}">
                  <a16:creationId xmlns:a16="http://schemas.microsoft.com/office/drawing/2014/main" id="{493624AA-0000-4DA1-E6CE-0122EE4A9413}"/>
                </a:ext>
              </a:extLst>
            </p:cNvPr>
            <p:cNvSpPr>
              <a:spLocks/>
            </p:cNvSpPr>
            <p:nvPr/>
          </p:nvSpPr>
          <p:spPr bwMode="auto">
            <a:xfrm>
              <a:off x="2872" y="2199"/>
              <a:ext cx="19" cy="19"/>
            </a:xfrm>
            <a:custGeom>
              <a:avLst/>
              <a:gdLst>
                <a:gd name="T0" fmla="*/ 5 w 17"/>
                <a:gd name="T1" fmla="*/ 0 h 17"/>
                <a:gd name="T2" fmla="*/ 0 w 17"/>
                <a:gd name="T3" fmla="*/ 0 h 17"/>
                <a:gd name="T4" fmla="*/ 0 w 17"/>
                <a:gd name="T5" fmla="*/ 8 h 17"/>
                <a:gd name="T6" fmla="*/ 5 w 17"/>
                <a:gd name="T7" fmla="*/ 16 h 17"/>
                <a:gd name="T8" fmla="*/ 16 w 17"/>
                <a:gd name="T9" fmla="*/ 8 h 17"/>
                <a:gd name="T10" fmla="*/ 10 w 17"/>
                <a:gd name="T11" fmla="*/ 0 h 17"/>
                <a:gd name="T12" fmla="*/ 5 w 1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5" y="0"/>
                  </a:moveTo>
                  <a:lnTo>
                    <a:pt x="0" y="0"/>
                  </a:lnTo>
                  <a:lnTo>
                    <a:pt x="0" y="8"/>
                  </a:lnTo>
                  <a:lnTo>
                    <a:pt x="5" y="16"/>
                  </a:lnTo>
                  <a:lnTo>
                    <a:pt x="16" y="8"/>
                  </a:lnTo>
                  <a:lnTo>
                    <a:pt x="10" y="0"/>
                  </a:lnTo>
                  <a:lnTo>
                    <a:pt x="5"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3" name="Freeform 36">
              <a:extLst>
                <a:ext uri="{FF2B5EF4-FFF2-40B4-BE49-F238E27FC236}">
                  <a16:creationId xmlns:a16="http://schemas.microsoft.com/office/drawing/2014/main" id="{CE757449-4313-C748-4A58-630725CA5E76}"/>
                </a:ext>
              </a:extLst>
            </p:cNvPr>
            <p:cNvSpPr>
              <a:spLocks/>
            </p:cNvSpPr>
            <p:nvPr/>
          </p:nvSpPr>
          <p:spPr bwMode="auto">
            <a:xfrm>
              <a:off x="2876" y="2196"/>
              <a:ext cx="20" cy="19"/>
            </a:xfrm>
            <a:custGeom>
              <a:avLst/>
              <a:gdLst>
                <a:gd name="T0" fmla="*/ 8 w 17"/>
                <a:gd name="T1" fmla="*/ 0 h 17"/>
                <a:gd name="T2" fmla="*/ 0 w 17"/>
                <a:gd name="T3" fmla="*/ 5 h 17"/>
                <a:gd name="T4" fmla="*/ 8 w 17"/>
                <a:gd name="T5" fmla="*/ 16 h 17"/>
                <a:gd name="T6" fmla="*/ 16 w 17"/>
                <a:gd name="T7" fmla="*/ 10 h 17"/>
                <a:gd name="T8" fmla="*/ 8 w 17"/>
                <a:gd name="T9" fmla="*/ 0 h 17"/>
              </a:gdLst>
              <a:ahLst/>
              <a:cxnLst>
                <a:cxn ang="0">
                  <a:pos x="T0" y="T1"/>
                </a:cxn>
                <a:cxn ang="0">
                  <a:pos x="T2" y="T3"/>
                </a:cxn>
                <a:cxn ang="0">
                  <a:pos x="T4" y="T5"/>
                </a:cxn>
                <a:cxn ang="0">
                  <a:pos x="T6" y="T7"/>
                </a:cxn>
                <a:cxn ang="0">
                  <a:pos x="T8" y="T9"/>
                </a:cxn>
              </a:cxnLst>
              <a:rect l="0" t="0" r="r" b="b"/>
              <a:pathLst>
                <a:path w="17" h="17">
                  <a:moveTo>
                    <a:pt x="8" y="0"/>
                  </a:moveTo>
                  <a:lnTo>
                    <a:pt x="0" y="5"/>
                  </a:lnTo>
                  <a:lnTo>
                    <a:pt x="8" y="16"/>
                  </a:lnTo>
                  <a:lnTo>
                    <a:pt x="16" y="10"/>
                  </a:lnTo>
                  <a:lnTo>
                    <a:pt x="8"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4" name="Freeform 37">
              <a:extLst>
                <a:ext uri="{FF2B5EF4-FFF2-40B4-BE49-F238E27FC236}">
                  <a16:creationId xmlns:a16="http://schemas.microsoft.com/office/drawing/2014/main" id="{DF8D1B1E-3C7D-B33D-8255-120AACB7070F}"/>
                </a:ext>
              </a:extLst>
            </p:cNvPr>
            <p:cNvSpPr>
              <a:spLocks/>
            </p:cNvSpPr>
            <p:nvPr/>
          </p:nvSpPr>
          <p:spPr bwMode="auto">
            <a:xfrm>
              <a:off x="2872" y="2203"/>
              <a:ext cx="19" cy="19"/>
            </a:xfrm>
            <a:custGeom>
              <a:avLst/>
              <a:gdLst>
                <a:gd name="T0" fmla="*/ 16 w 17"/>
                <a:gd name="T1" fmla="*/ 0 h 17"/>
                <a:gd name="T2" fmla="*/ 0 w 17"/>
                <a:gd name="T3" fmla="*/ 5 h 17"/>
                <a:gd name="T4" fmla="*/ 0 w 17"/>
                <a:gd name="T5" fmla="*/ 16 h 17"/>
                <a:gd name="T6" fmla="*/ 16 w 17"/>
                <a:gd name="T7" fmla="*/ 0 h 17"/>
              </a:gdLst>
              <a:ahLst/>
              <a:cxnLst>
                <a:cxn ang="0">
                  <a:pos x="T0" y="T1"/>
                </a:cxn>
                <a:cxn ang="0">
                  <a:pos x="T2" y="T3"/>
                </a:cxn>
                <a:cxn ang="0">
                  <a:pos x="T4" y="T5"/>
                </a:cxn>
                <a:cxn ang="0">
                  <a:pos x="T6" y="T7"/>
                </a:cxn>
              </a:cxnLst>
              <a:rect l="0" t="0" r="r" b="b"/>
              <a:pathLst>
                <a:path w="17" h="17">
                  <a:moveTo>
                    <a:pt x="16" y="0"/>
                  </a:moveTo>
                  <a:lnTo>
                    <a:pt x="0" y="5"/>
                  </a:lnTo>
                  <a:lnTo>
                    <a:pt x="0" y="16"/>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5" name="Freeform 38">
              <a:extLst>
                <a:ext uri="{FF2B5EF4-FFF2-40B4-BE49-F238E27FC236}">
                  <a16:creationId xmlns:a16="http://schemas.microsoft.com/office/drawing/2014/main" id="{3C781962-1B84-87BB-981D-9CDD9143E321}"/>
                </a:ext>
              </a:extLst>
            </p:cNvPr>
            <p:cNvSpPr>
              <a:spLocks/>
            </p:cNvSpPr>
            <p:nvPr/>
          </p:nvSpPr>
          <p:spPr bwMode="auto">
            <a:xfrm>
              <a:off x="2879" y="2196"/>
              <a:ext cx="19" cy="1"/>
            </a:xfrm>
            <a:custGeom>
              <a:avLst/>
              <a:gdLst>
                <a:gd name="T0" fmla="*/ 0 w 17"/>
                <a:gd name="T1" fmla="*/ 0 h 1"/>
                <a:gd name="T2" fmla="*/ 0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0" y="0"/>
                  </a:ln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6" name="Freeform 39">
              <a:extLst>
                <a:ext uri="{FF2B5EF4-FFF2-40B4-BE49-F238E27FC236}">
                  <a16:creationId xmlns:a16="http://schemas.microsoft.com/office/drawing/2014/main" id="{701C763B-714F-EA95-07E6-D0A7B670D1BA}"/>
                </a:ext>
              </a:extLst>
            </p:cNvPr>
            <p:cNvSpPr>
              <a:spLocks/>
            </p:cNvSpPr>
            <p:nvPr/>
          </p:nvSpPr>
          <p:spPr bwMode="auto">
            <a:xfrm>
              <a:off x="2786" y="2353"/>
              <a:ext cx="20" cy="19"/>
            </a:xfrm>
            <a:custGeom>
              <a:avLst/>
              <a:gdLst>
                <a:gd name="T0" fmla="*/ 0 w 17"/>
                <a:gd name="T1" fmla="*/ 0 h 17"/>
                <a:gd name="T2" fmla="*/ 16 w 17"/>
                <a:gd name="T3" fmla="*/ 0 h 17"/>
                <a:gd name="T4" fmla="*/ 16 w 17"/>
                <a:gd name="T5" fmla="*/ 8 h 17"/>
                <a:gd name="T6" fmla="*/ 16 w 17"/>
                <a:gd name="T7" fmla="*/ 16 h 17"/>
                <a:gd name="T8" fmla="*/ 0 w 17"/>
                <a:gd name="T9" fmla="*/ 16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6" y="0"/>
                  </a:lnTo>
                  <a:lnTo>
                    <a:pt x="16" y="8"/>
                  </a:lnTo>
                  <a:lnTo>
                    <a:pt x="16" y="16"/>
                  </a:lnTo>
                  <a:lnTo>
                    <a:pt x="0" y="16"/>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79" name="Freeform 40">
              <a:extLst>
                <a:ext uri="{FF2B5EF4-FFF2-40B4-BE49-F238E27FC236}">
                  <a16:creationId xmlns:a16="http://schemas.microsoft.com/office/drawing/2014/main" id="{EB985DB7-21FC-F746-17CF-FA07B6636CE6}"/>
                </a:ext>
              </a:extLst>
            </p:cNvPr>
            <p:cNvSpPr>
              <a:spLocks/>
            </p:cNvSpPr>
            <p:nvPr/>
          </p:nvSpPr>
          <p:spPr bwMode="auto">
            <a:xfrm>
              <a:off x="2785" y="2357"/>
              <a:ext cx="19" cy="20"/>
            </a:xfrm>
            <a:custGeom>
              <a:avLst/>
              <a:gdLst>
                <a:gd name="T0" fmla="*/ 8 w 17"/>
                <a:gd name="T1" fmla="*/ 0 h 17"/>
                <a:gd name="T2" fmla="*/ 8 w 17"/>
                <a:gd name="T3" fmla="*/ 5 h 17"/>
                <a:gd name="T4" fmla="*/ 0 w 17"/>
                <a:gd name="T5" fmla="*/ 5 h 17"/>
                <a:gd name="T6" fmla="*/ 8 w 17"/>
                <a:gd name="T7" fmla="*/ 16 h 17"/>
                <a:gd name="T8" fmla="*/ 16 w 17"/>
                <a:gd name="T9" fmla="*/ 16 h 17"/>
                <a:gd name="T10" fmla="*/ 8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8" y="0"/>
                  </a:moveTo>
                  <a:lnTo>
                    <a:pt x="8" y="5"/>
                  </a:lnTo>
                  <a:lnTo>
                    <a:pt x="0" y="5"/>
                  </a:lnTo>
                  <a:lnTo>
                    <a:pt x="8" y="16"/>
                  </a:lnTo>
                  <a:lnTo>
                    <a:pt x="16" y="16"/>
                  </a:lnTo>
                  <a:lnTo>
                    <a:pt x="8"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0" name="Freeform 41">
              <a:extLst>
                <a:ext uri="{FF2B5EF4-FFF2-40B4-BE49-F238E27FC236}">
                  <a16:creationId xmlns:a16="http://schemas.microsoft.com/office/drawing/2014/main" id="{0058809C-DFF9-964C-5780-43079A33AAAB}"/>
                </a:ext>
              </a:extLst>
            </p:cNvPr>
            <p:cNvSpPr>
              <a:spLocks/>
            </p:cNvSpPr>
            <p:nvPr/>
          </p:nvSpPr>
          <p:spPr bwMode="auto">
            <a:xfrm>
              <a:off x="2686" y="2330"/>
              <a:ext cx="20" cy="19"/>
            </a:xfrm>
            <a:custGeom>
              <a:avLst/>
              <a:gdLst>
                <a:gd name="T0" fmla="*/ 16 w 17"/>
                <a:gd name="T1" fmla="*/ 0 h 17"/>
                <a:gd name="T2" fmla="*/ 5 w 17"/>
                <a:gd name="T3" fmla="*/ 0 h 17"/>
                <a:gd name="T4" fmla="*/ 0 w 17"/>
                <a:gd name="T5" fmla="*/ 8 h 17"/>
                <a:gd name="T6" fmla="*/ 0 w 17"/>
                <a:gd name="T7" fmla="*/ 16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5" y="0"/>
                  </a:lnTo>
                  <a:lnTo>
                    <a:pt x="0" y="8"/>
                  </a:lnTo>
                  <a:lnTo>
                    <a:pt x="0" y="16"/>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1" name="Freeform 42">
              <a:extLst>
                <a:ext uri="{FF2B5EF4-FFF2-40B4-BE49-F238E27FC236}">
                  <a16:creationId xmlns:a16="http://schemas.microsoft.com/office/drawing/2014/main" id="{95F78784-2B87-C036-B1B5-8F5D83786013}"/>
                </a:ext>
              </a:extLst>
            </p:cNvPr>
            <p:cNvSpPr>
              <a:spLocks/>
            </p:cNvSpPr>
            <p:nvPr/>
          </p:nvSpPr>
          <p:spPr bwMode="auto">
            <a:xfrm>
              <a:off x="2690" y="2331"/>
              <a:ext cx="19" cy="20"/>
            </a:xfrm>
            <a:custGeom>
              <a:avLst/>
              <a:gdLst>
                <a:gd name="T0" fmla="*/ 0 w 17"/>
                <a:gd name="T1" fmla="*/ 0 h 17"/>
                <a:gd name="T2" fmla="*/ 16 w 17"/>
                <a:gd name="T3" fmla="*/ 0 h 17"/>
                <a:gd name="T4" fmla="*/ 16 w 17"/>
                <a:gd name="T5" fmla="*/ 16 h 17"/>
                <a:gd name="T6" fmla="*/ 0 w 17"/>
                <a:gd name="T7" fmla="*/ 16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0"/>
                  </a:lnTo>
                  <a:lnTo>
                    <a:pt x="16" y="16"/>
                  </a:lnTo>
                  <a:lnTo>
                    <a:pt x="0" y="16"/>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2" name="Freeform 43">
              <a:extLst>
                <a:ext uri="{FF2B5EF4-FFF2-40B4-BE49-F238E27FC236}">
                  <a16:creationId xmlns:a16="http://schemas.microsoft.com/office/drawing/2014/main" id="{FEE9667A-4865-70FD-BD30-F7C9A7B01A9F}"/>
                </a:ext>
              </a:extLst>
            </p:cNvPr>
            <p:cNvSpPr>
              <a:spLocks/>
            </p:cNvSpPr>
            <p:nvPr/>
          </p:nvSpPr>
          <p:spPr bwMode="auto">
            <a:xfrm>
              <a:off x="2692" y="2326"/>
              <a:ext cx="20" cy="19"/>
            </a:xfrm>
            <a:custGeom>
              <a:avLst/>
              <a:gdLst>
                <a:gd name="T0" fmla="*/ 8 w 17"/>
                <a:gd name="T1" fmla="*/ 0 h 17"/>
                <a:gd name="T2" fmla="*/ 0 w 17"/>
                <a:gd name="T3" fmla="*/ 5 h 17"/>
                <a:gd name="T4" fmla="*/ 4 w 17"/>
                <a:gd name="T5" fmla="*/ 16 h 17"/>
                <a:gd name="T6" fmla="*/ 12 w 17"/>
                <a:gd name="T7" fmla="*/ 16 h 17"/>
                <a:gd name="T8" fmla="*/ 16 w 17"/>
                <a:gd name="T9" fmla="*/ 5 h 17"/>
                <a:gd name="T10" fmla="*/ 8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8" y="0"/>
                  </a:moveTo>
                  <a:lnTo>
                    <a:pt x="0" y="5"/>
                  </a:lnTo>
                  <a:lnTo>
                    <a:pt x="4" y="16"/>
                  </a:lnTo>
                  <a:lnTo>
                    <a:pt x="12" y="16"/>
                  </a:lnTo>
                  <a:lnTo>
                    <a:pt x="16" y="5"/>
                  </a:lnTo>
                  <a:lnTo>
                    <a:pt x="8"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3" name="Freeform 44">
              <a:extLst>
                <a:ext uri="{FF2B5EF4-FFF2-40B4-BE49-F238E27FC236}">
                  <a16:creationId xmlns:a16="http://schemas.microsoft.com/office/drawing/2014/main" id="{78B796C5-7217-5F2B-2018-D59DFD5E85AA}"/>
                </a:ext>
              </a:extLst>
            </p:cNvPr>
            <p:cNvSpPr>
              <a:spLocks/>
            </p:cNvSpPr>
            <p:nvPr/>
          </p:nvSpPr>
          <p:spPr bwMode="auto">
            <a:xfrm>
              <a:off x="2687" y="2332"/>
              <a:ext cx="20" cy="2"/>
            </a:xfrm>
            <a:custGeom>
              <a:avLst/>
              <a:gdLst>
                <a:gd name="T0" fmla="*/ 0 w 17"/>
                <a:gd name="T1" fmla="*/ 0 h 1"/>
                <a:gd name="T2" fmla="*/ 16 w 17"/>
                <a:gd name="T3" fmla="*/ 0 h 1"/>
                <a:gd name="T4" fmla="*/ 0 w 17"/>
                <a:gd name="T5" fmla="*/ 0 h 1"/>
              </a:gdLst>
              <a:ahLst/>
              <a:cxnLst>
                <a:cxn ang="0">
                  <a:pos x="T0" y="T1"/>
                </a:cxn>
                <a:cxn ang="0">
                  <a:pos x="T2" y="T3"/>
                </a:cxn>
                <a:cxn ang="0">
                  <a:pos x="T4" y="T5"/>
                </a:cxn>
              </a:cxnLst>
              <a:rect l="0" t="0" r="r" b="b"/>
              <a:pathLst>
                <a:path w="17" h="1">
                  <a:moveTo>
                    <a:pt x="0" y="0"/>
                  </a:move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4" name="Freeform 45">
              <a:extLst>
                <a:ext uri="{FF2B5EF4-FFF2-40B4-BE49-F238E27FC236}">
                  <a16:creationId xmlns:a16="http://schemas.microsoft.com/office/drawing/2014/main" id="{F79A42E3-F0BC-43D4-BCF6-0451DEFD4A43}"/>
                </a:ext>
              </a:extLst>
            </p:cNvPr>
            <p:cNvSpPr>
              <a:spLocks/>
            </p:cNvSpPr>
            <p:nvPr/>
          </p:nvSpPr>
          <p:spPr bwMode="auto">
            <a:xfrm>
              <a:off x="2624" y="2368"/>
              <a:ext cx="19" cy="19"/>
            </a:xfrm>
            <a:custGeom>
              <a:avLst/>
              <a:gdLst>
                <a:gd name="T0" fmla="*/ 8 w 17"/>
                <a:gd name="T1" fmla="*/ 0 h 17"/>
                <a:gd name="T2" fmla="*/ 16 w 17"/>
                <a:gd name="T3" fmla="*/ 6 h 17"/>
                <a:gd name="T4" fmla="*/ 16 w 17"/>
                <a:gd name="T5" fmla="*/ 9 h 17"/>
                <a:gd name="T6" fmla="*/ 8 w 17"/>
                <a:gd name="T7" fmla="*/ 12 h 17"/>
                <a:gd name="T8" fmla="*/ 8 w 17"/>
                <a:gd name="T9" fmla="*/ 16 h 17"/>
                <a:gd name="T10" fmla="*/ 0 w 17"/>
                <a:gd name="T11" fmla="*/ 12 h 17"/>
                <a:gd name="T12" fmla="*/ 0 w 17"/>
                <a:gd name="T13" fmla="*/ 9 h 17"/>
                <a:gd name="T14" fmla="*/ 8 w 17"/>
                <a:gd name="T15" fmla="*/ 6 h 17"/>
                <a:gd name="T16" fmla="*/ 8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8" y="0"/>
                  </a:moveTo>
                  <a:lnTo>
                    <a:pt x="16" y="6"/>
                  </a:lnTo>
                  <a:lnTo>
                    <a:pt x="16" y="9"/>
                  </a:lnTo>
                  <a:lnTo>
                    <a:pt x="8" y="12"/>
                  </a:lnTo>
                  <a:lnTo>
                    <a:pt x="8" y="16"/>
                  </a:lnTo>
                  <a:lnTo>
                    <a:pt x="0" y="12"/>
                  </a:lnTo>
                  <a:lnTo>
                    <a:pt x="0" y="9"/>
                  </a:lnTo>
                  <a:lnTo>
                    <a:pt x="8" y="6"/>
                  </a:lnTo>
                  <a:lnTo>
                    <a:pt x="8"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5" name="Freeform 46">
              <a:extLst>
                <a:ext uri="{FF2B5EF4-FFF2-40B4-BE49-F238E27FC236}">
                  <a16:creationId xmlns:a16="http://schemas.microsoft.com/office/drawing/2014/main" id="{A4EA11C2-3BA1-D0CE-C930-19DB09C9170D}"/>
                </a:ext>
              </a:extLst>
            </p:cNvPr>
            <p:cNvSpPr>
              <a:spLocks/>
            </p:cNvSpPr>
            <p:nvPr/>
          </p:nvSpPr>
          <p:spPr bwMode="auto">
            <a:xfrm>
              <a:off x="2617" y="2377"/>
              <a:ext cx="19" cy="19"/>
            </a:xfrm>
            <a:custGeom>
              <a:avLst/>
              <a:gdLst>
                <a:gd name="T0" fmla="*/ 16 w 17"/>
                <a:gd name="T1" fmla="*/ 0 h 17"/>
                <a:gd name="T2" fmla="*/ 8 w 17"/>
                <a:gd name="T3" fmla="*/ 0 h 17"/>
                <a:gd name="T4" fmla="*/ 0 w 17"/>
                <a:gd name="T5" fmla="*/ 0 h 17"/>
                <a:gd name="T6" fmla="*/ 0 w 17"/>
                <a:gd name="T7" fmla="*/ 16 h 17"/>
                <a:gd name="T8" fmla="*/ 8 w 17"/>
                <a:gd name="T9" fmla="*/ 16 h 17"/>
                <a:gd name="T10" fmla="*/ 16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16" y="0"/>
                  </a:moveTo>
                  <a:lnTo>
                    <a:pt x="8" y="0"/>
                  </a:lnTo>
                  <a:lnTo>
                    <a:pt x="0" y="0"/>
                  </a:lnTo>
                  <a:lnTo>
                    <a:pt x="0" y="16"/>
                  </a:lnTo>
                  <a:lnTo>
                    <a:pt x="8" y="16"/>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6" name="Freeform 47">
              <a:extLst>
                <a:ext uri="{FF2B5EF4-FFF2-40B4-BE49-F238E27FC236}">
                  <a16:creationId xmlns:a16="http://schemas.microsoft.com/office/drawing/2014/main" id="{B73AF653-09E8-BEE1-556E-CB72339FC94D}"/>
                </a:ext>
              </a:extLst>
            </p:cNvPr>
            <p:cNvSpPr>
              <a:spLocks/>
            </p:cNvSpPr>
            <p:nvPr/>
          </p:nvSpPr>
          <p:spPr bwMode="auto">
            <a:xfrm>
              <a:off x="2620" y="2372"/>
              <a:ext cx="20" cy="20"/>
            </a:xfrm>
            <a:custGeom>
              <a:avLst/>
              <a:gdLst>
                <a:gd name="T0" fmla="*/ 9 w 17"/>
                <a:gd name="T1" fmla="*/ 0 h 17"/>
                <a:gd name="T2" fmla="*/ 6 w 17"/>
                <a:gd name="T3" fmla="*/ 4 h 17"/>
                <a:gd name="T4" fmla="*/ 3 w 17"/>
                <a:gd name="T5" fmla="*/ 8 h 17"/>
                <a:gd name="T6" fmla="*/ 0 w 17"/>
                <a:gd name="T7" fmla="*/ 8 h 17"/>
                <a:gd name="T8" fmla="*/ 0 w 17"/>
                <a:gd name="T9" fmla="*/ 12 h 17"/>
                <a:gd name="T10" fmla="*/ 3 w 17"/>
                <a:gd name="T11" fmla="*/ 12 h 17"/>
                <a:gd name="T12" fmla="*/ 6 w 17"/>
                <a:gd name="T13" fmla="*/ 12 h 17"/>
                <a:gd name="T14" fmla="*/ 6 w 17"/>
                <a:gd name="T15" fmla="*/ 16 h 17"/>
                <a:gd name="T16" fmla="*/ 12 w 17"/>
                <a:gd name="T17" fmla="*/ 12 h 17"/>
                <a:gd name="T18" fmla="*/ 16 w 17"/>
                <a:gd name="T19" fmla="*/ 8 h 17"/>
                <a:gd name="T20" fmla="*/ 12 w 17"/>
                <a:gd name="T21" fmla="*/ 8 h 17"/>
                <a:gd name="T22" fmla="*/ 12 w 17"/>
                <a:gd name="T23" fmla="*/ 4 h 17"/>
                <a:gd name="T24" fmla="*/ 9 w 17"/>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9" y="0"/>
                  </a:moveTo>
                  <a:lnTo>
                    <a:pt x="6" y="4"/>
                  </a:lnTo>
                  <a:lnTo>
                    <a:pt x="3" y="8"/>
                  </a:lnTo>
                  <a:lnTo>
                    <a:pt x="0" y="8"/>
                  </a:lnTo>
                  <a:lnTo>
                    <a:pt x="0" y="12"/>
                  </a:lnTo>
                  <a:lnTo>
                    <a:pt x="3" y="12"/>
                  </a:lnTo>
                  <a:lnTo>
                    <a:pt x="6" y="12"/>
                  </a:lnTo>
                  <a:lnTo>
                    <a:pt x="6" y="16"/>
                  </a:lnTo>
                  <a:lnTo>
                    <a:pt x="12" y="12"/>
                  </a:lnTo>
                  <a:lnTo>
                    <a:pt x="16" y="8"/>
                  </a:lnTo>
                  <a:lnTo>
                    <a:pt x="12" y="8"/>
                  </a:lnTo>
                  <a:lnTo>
                    <a:pt x="12" y="4"/>
                  </a:lnTo>
                  <a:lnTo>
                    <a:pt x="9"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87" name="Freeform 48">
              <a:extLst>
                <a:ext uri="{FF2B5EF4-FFF2-40B4-BE49-F238E27FC236}">
                  <a16:creationId xmlns:a16="http://schemas.microsoft.com/office/drawing/2014/main" id="{45D7DA41-ADAD-0344-5F61-C04E28D66693}"/>
                </a:ext>
              </a:extLst>
            </p:cNvPr>
            <p:cNvSpPr>
              <a:spLocks/>
            </p:cNvSpPr>
            <p:nvPr/>
          </p:nvSpPr>
          <p:spPr bwMode="auto">
            <a:xfrm>
              <a:off x="2625" y="2373"/>
              <a:ext cx="19" cy="20"/>
            </a:xfrm>
            <a:custGeom>
              <a:avLst/>
              <a:gdLst>
                <a:gd name="T0" fmla="*/ 0 w 17"/>
                <a:gd name="T1" fmla="*/ 0 h 17"/>
                <a:gd name="T2" fmla="*/ 0 w 17"/>
                <a:gd name="T3" fmla="*/ 8 h 17"/>
                <a:gd name="T4" fmla="*/ 8 w 17"/>
                <a:gd name="T5" fmla="*/ 16 h 17"/>
                <a:gd name="T6" fmla="*/ 16 w 17"/>
                <a:gd name="T7" fmla="*/ 8 h 17"/>
                <a:gd name="T8" fmla="*/ 16 w 17"/>
                <a:gd name="T9" fmla="*/ 0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0" y="8"/>
                  </a:lnTo>
                  <a:lnTo>
                    <a:pt x="8" y="16"/>
                  </a:lnTo>
                  <a:lnTo>
                    <a:pt x="16" y="8"/>
                  </a:ln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5" name="Freeform 49">
              <a:extLst>
                <a:ext uri="{FF2B5EF4-FFF2-40B4-BE49-F238E27FC236}">
                  <a16:creationId xmlns:a16="http://schemas.microsoft.com/office/drawing/2014/main" id="{4C7E70B9-16A1-BA01-1C2A-D402588ABDDC}"/>
                </a:ext>
              </a:extLst>
            </p:cNvPr>
            <p:cNvSpPr>
              <a:spLocks/>
            </p:cNvSpPr>
            <p:nvPr/>
          </p:nvSpPr>
          <p:spPr bwMode="auto">
            <a:xfrm>
              <a:off x="2628" y="2373"/>
              <a:ext cx="20" cy="20"/>
            </a:xfrm>
            <a:custGeom>
              <a:avLst/>
              <a:gdLst>
                <a:gd name="T0" fmla="*/ 0 w 17"/>
                <a:gd name="T1" fmla="*/ 0 h 17"/>
                <a:gd name="T2" fmla="*/ 0 w 17"/>
                <a:gd name="T3" fmla="*/ 5 h 17"/>
                <a:gd name="T4" fmla="*/ 8 w 17"/>
                <a:gd name="T5" fmla="*/ 16 h 17"/>
                <a:gd name="T6" fmla="*/ 16 w 17"/>
                <a:gd name="T7" fmla="*/ 10 h 17"/>
                <a:gd name="T8" fmla="*/ 16 w 17"/>
                <a:gd name="T9" fmla="*/ 0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0" y="5"/>
                  </a:lnTo>
                  <a:lnTo>
                    <a:pt x="8" y="16"/>
                  </a:lnTo>
                  <a:lnTo>
                    <a:pt x="16" y="10"/>
                  </a:ln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6" name="Freeform 50">
              <a:extLst>
                <a:ext uri="{FF2B5EF4-FFF2-40B4-BE49-F238E27FC236}">
                  <a16:creationId xmlns:a16="http://schemas.microsoft.com/office/drawing/2014/main" id="{D8451F83-DA5D-F25C-B81A-DB94DFE46283}"/>
                </a:ext>
              </a:extLst>
            </p:cNvPr>
            <p:cNvSpPr>
              <a:spLocks/>
            </p:cNvSpPr>
            <p:nvPr/>
          </p:nvSpPr>
          <p:spPr bwMode="auto">
            <a:xfrm>
              <a:off x="2641" y="2380"/>
              <a:ext cx="20" cy="20"/>
            </a:xfrm>
            <a:custGeom>
              <a:avLst/>
              <a:gdLst>
                <a:gd name="T0" fmla="*/ 0 w 17"/>
                <a:gd name="T1" fmla="*/ 16 h 17"/>
                <a:gd name="T2" fmla="*/ 8 w 17"/>
                <a:gd name="T3" fmla="*/ 12 h 17"/>
                <a:gd name="T4" fmla="*/ 8 w 17"/>
                <a:gd name="T5" fmla="*/ 9 h 17"/>
                <a:gd name="T6" fmla="*/ 8 w 17"/>
                <a:gd name="T7" fmla="*/ 6 h 17"/>
                <a:gd name="T8" fmla="*/ 16 w 17"/>
                <a:gd name="T9" fmla="*/ 3 h 17"/>
                <a:gd name="T10" fmla="*/ 16 w 17"/>
                <a:gd name="T11" fmla="*/ 0 h 17"/>
                <a:gd name="T12" fmla="*/ 8 w 17"/>
                <a:gd name="T13" fmla="*/ 3 h 17"/>
                <a:gd name="T14" fmla="*/ 0 w 17"/>
                <a:gd name="T15" fmla="*/ 6 h 17"/>
                <a:gd name="T16" fmla="*/ 8 w 17"/>
                <a:gd name="T17" fmla="*/ 9 h 17"/>
                <a:gd name="T18" fmla="*/ 0 w 17"/>
                <a:gd name="T19" fmla="*/ 9 h 17"/>
                <a:gd name="T20" fmla="*/ 0 w 17"/>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7">
                  <a:moveTo>
                    <a:pt x="0" y="16"/>
                  </a:moveTo>
                  <a:lnTo>
                    <a:pt x="8" y="12"/>
                  </a:lnTo>
                  <a:lnTo>
                    <a:pt x="8" y="9"/>
                  </a:lnTo>
                  <a:lnTo>
                    <a:pt x="8" y="6"/>
                  </a:lnTo>
                  <a:lnTo>
                    <a:pt x="16" y="3"/>
                  </a:lnTo>
                  <a:lnTo>
                    <a:pt x="16" y="0"/>
                  </a:lnTo>
                  <a:lnTo>
                    <a:pt x="8" y="3"/>
                  </a:lnTo>
                  <a:lnTo>
                    <a:pt x="0" y="6"/>
                  </a:lnTo>
                  <a:lnTo>
                    <a:pt x="8" y="9"/>
                  </a:lnTo>
                  <a:lnTo>
                    <a:pt x="0" y="9"/>
                  </a:lnTo>
                  <a:lnTo>
                    <a:pt x="0"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7" name="Freeform 51">
              <a:extLst>
                <a:ext uri="{FF2B5EF4-FFF2-40B4-BE49-F238E27FC236}">
                  <a16:creationId xmlns:a16="http://schemas.microsoft.com/office/drawing/2014/main" id="{980B70A6-AC0D-B288-BD13-AAB50B91070D}"/>
                </a:ext>
              </a:extLst>
            </p:cNvPr>
            <p:cNvSpPr>
              <a:spLocks/>
            </p:cNvSpPr>
            <p:nvPr/>
          </p:nvSpPr>
          <p:spPr bwMode="auto">
            <a:xfrm>
              <a:off x="2635" y="2381"/>
              <a:ext cx="20" cy="20"/>
            </a:xfrm>
            <a:custGeom>
              <a:avLst/>
              <a:gdLst>
                <a:gd name="T0" fmla="*/ 16 w 17"/>
                <a:gd name="T1" fmla="*/ 0 h 17"/>
                <a:gd name="T2" fmla="*/ 12 w 17"/>
                <a:gd name="T3" fmla="*/ 0 h 17"/>
                <a:gd name="T4" fmla="*/ 8 w 17"/>
                <a:gd name="T5" fmla="*/ 2 h 17"/>
                <a:gd name="T6" fmla="*/ 4 w 17"/>
                <a:gd name="T7" fmla="*/ 6 h 17"/>
                <a:gd name="T8" fmla="*/ 0 w 17"/>
                <a:gd name="T9" fmla="*/ 9 h 17"/>
                <a:gd name="T10" fmla="*/ 0 w 17"/>
                <a:gd name="T11" fmla="*/ 13 h 17"/>
                <a:gd name="T12" fmla="*/ 4 w 17"/>
                <a:gd name="T13" fmla="*/ 16 h 17"/>
                <a:gd name="T14" fmla="*/ 4 w 17"/>
                <a:gd name="T15" fmla="*/ 13 h 17"/>
                <a:gd name="T16" fmla="*/ 12 w 17"/>
                <a:gd name="T17" fmla="*/ 11 h 17"/>
                <a:gd name="T18" fmla="*/ 16 w 17"/>
                <a:gd name="T19" fmla="*/ 9 h 17"/>
                <a:gd name="T20" fmla="*/ 16 w 17"/>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7">
                  <a:moveTo>
                    <a:pt x="16" y="0"/>
                  </a:moveTo>
                  <a:lnTo>
                    <a:pt x="12" y="0"/>
                  </a:lnTo>
                  <a:lnTo>
                    <a:pt x="8" y="2"/>
                  </a:lnTo>
                  <a:lnTo>
                    <a:pt x="4" y="6"/>
                  </a:lnTo>
                  <a:lnTo>
                    <a:pt x="0" y="9"/>
                  </a:lnTo>
                  <a:lnTo>
                    <a:pt x="0" y="13"/>
                  </a:lnTo>
                  <a:lnTo>
                    <a:pt x="4" y="16"/>
                  </a:lnTo>
                  <a:lnTo>
                    <a:pt x="4" y="13"/>
                  </a:lnTo>
                  <a:lnTo>
                    <a:pt x="12" y="11"/>
                  </a:lnTo>
                  <a:lnTo>
                    <a:pt x="16" y="9"/>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8" name="Freeform 52">
              <a:extLst>
                <a:ext uri="{FF2B5EF4-FFF2-40B4-BE49-F238E27FC236}">
                  <a16:creationId xmlns:a16="http://schemas.microsoft.com/office/drawing/2014/main" id="{97EC2A5A-E92C-808D-A57B-8BC5F601E5CC}"/>
                </a:ext>
              </a:extLst>
            </p:cNvPr>
            <p:cNvSpPr>
              <a:spLocks/>
            </p:cNvSpPr>
            <p:nvPr/>
          </p:nvSpPr>
          <p:spPr bwMode="auto">
            <a:xfrm>
              <a:off x="2633" y="2389"/>
              <a:ext cx="20" cy="20"/>
            </a:xfrm>
            <a:custGeom>
              <a:avLst/>
              <a:gdLst>
                <a:gd name="T0" fmla="*/ 0 w 17"/>
                <a:gd name="T1" fmla="*/ 0 h 17"/>
                <a:gd name="T2" fmla="*/ 16 w 17"/>
                <a:gd name="T3" fmla="*/ 10 h 17"/>
                <a:gd name="T4" fmla="*/ 16 w 17"/>
                <a:gd name="T5" fmla="*/ 16 h 17"/>
                <a:gd name="T6" fmla="*/ 0 w 17"/>
                <a:gd name="T7" fmla="*/ 1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0"/>
                  </a:lnTo>
                  <a:lnTo>
                    <a:pt x="16" y="16"/>
                  </a:lnTo>
                  <a:lnTo>
                    <a:pt x="0" y="1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9" name="Freeform 53">
              <a:extLst>
                <a:ext uri="{FF2B5EF4-FFF2-40B4-BE49-F238E27FC236}">
                  <a16:creationId xmlns:a16="http://schemas.microsoft.com/office/drawing/2014/main" id="{195CA81B-6DDA-D3DC-92F2-646822C7C2B2}"/>
                </a:ext>
              </a:extLst>
            </p:cNvPr>
            <p:cNvSpPr>
              <a:spLocks/>
            </p:cNvSpPr>
            <p:nvPr/>
          </p:nvSpPr>
          <p:spPr bwMode="auto">
            <a:xfrm>
              <a:off x="2627" y="2393"/>
              <a:ext cx="20" cy="19"/>
            </a:xfrm>
            <a:custGeom>
              <a:avLst/>
              <a:gdLst>
                <a:gd name="T0" fmla="*/ 16 w 17"/>
                <a:gd name="T1" fmla="*/ 0 h 17"/>
                <a:gd name="T2" fmla="*/ 10 w 17"/>
                <a:gd name="T3" fmla="*/ 0 h 17"/>
                <a:gd name="T4" fmla="*/ 5 w 17"/>
                <a:gd name="T5" fmla="*/ 0 h 17"/>
                <a:gd name="T6" fmla="*/ 0 w 17"/>
                <a:gd name="T7" fmla="*/ 8 h 17"/>
                <a:gd name="T8" fmla="*/ 0 w 17"/>
                <a:gd name="T9" fmla="*/ 16 h 17"/>
                <a:gd name="T10" fmla="*/ 5 w 17"/>
                <a:gd name="T11" fmla="*/ 16 h 17"/>
                <a:gd name="T12" fmla="*/ 10 w 17"/>
                <a:gd name="T13" fmla="*/ 8 h 17"/>
                <a:gd name="T14" fmla="*/ 16 w 17"/>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16" y="0"/>
                  </a:moveTo>
                  <a:lnTo>
                    <a:pt x="10" y="0"/>
                  </a:lnTo>
                  <a:lnTo>
                    <a:pt x="5" y="0"/>
                  </a:lnTo>
                  <a:lnTo>
                    <a:pt x="0" y="8"/>
                  </a:lnTo>
                  <a:lnTo>
                    <a:pt x="0" y="16"/>
                  </a:lnTo>
                  <a:lnTo>
                    <a:pt x="5" y="16"/>
                  </a:lnTo>
                  <a:lnTo>
                    <a:pt x="10" y="8"/>
                  </a:lnTo>
                  <a:lnTo>
                    <a:pt x="1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0" name="Freeform 54">
              <a:extLst>
                <a:ext uri="{FF2B5EF4-FFF2-40B4-BE49-F238E27FC236}">
                  <a16:creationId xmlns:a16="http://schemas.microsoft.com/office/drawing/2014/main" id="{510892A5-A6E8-FDD9-9537-5D577D32FEE1}"/>
                </a:ext>
              </a:extLst>
            </p:cNvPr>
            <p:cNvSpPr>
              <a:spLocks/>
            </p:cNvSpPr>
            <p:nvPr/>
          </p:nvSpPr>
          <p:spPr bwMode="auto">
            <a:xfrm>
              <a:off x="2631" y="2392"/>
              <a:ext cx="19" cy="19"/>
            </a:xfrm>
            <a:custGeom>
              <a:avLst/>
              <a:gdLst>
                <a:gd name="T0" fmla="*/ 0 w 17"/>
                <a:gd name="T1" fmla="*/ 0 h 17"/>
                <a:gd name="T2" fmla="*/ 0 w 17"/>
                <a:gd name="T3" fmla="*/ 16 h 17"/>
                <a:gd name="T4" fmla="*/ 16 w 17"/>
                <a:gd name="T5" fmla="*/ 16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0" y="16"/>
                  </a:lnTo>
                  <a:lnTo>
                    <a:pt x="16" y="16"/>
                  </a:ln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1" name="Freeform 55">
              <a:extLst>
                <a:ext uri="{FF2B5EF4-FFF2-40B4-BE49-F238E27FC236}">
                  <a16:creationId xmlns:a16="http://schemas.microsoft.com/office/drawing/2014/main" id="{09F0D846-989C-12E0-57B1-8137CA4E5DAC}"/>
                </a:ext>
              </a:extLst>
            </p:cNvPr>
            <p:cNvSpPr>
              <a:spLocks/>
            </p:cNvSpPr>
            <p:nvPr/>
          </p:nvSpPr>
          <p:spPr bwMode="auto">
            <a:xfrm>
              <a:off x="2639" y="2420"/>
              <a:ext cx="19" cy="19"/>
            </a:xfrm>
            <a:custGeom>
              <a:avLst/>
              <a:gdLst>
                <a:gd name="T0" fmla="*/ 16 w 17"/>
                <a:gd name="T1" fmla="*/ 9 h 17"/>
                <a:gd name="T2" fmla="*/ 16 w 17"/>
                <a:gd name="T3" fmla="*/ 6 h 17"/>
                <a:gd name="T4" fmla="*/ 16 w 17"/>
                <a:gd name="T5" fmla="*/ 0 h 17"/>
                <a:gd name="T6" fmla="*/ 8 w 17"/>
                <a:gd name="T7" fmla="*/ 0 h 17"/>
                <a:gd name="T8" fmla="*/ 0 w 17"/>
                <a:gd name="T9" fmla="*/ 3 h 17"/>
                <a:gd name="T10" fmla="*/ 0 w 17"/>
                <a:gd name="T11" fmla="*/ 6 h 17"/>
                <a:gd name="T12" fmla="*/ 0 w 17"/>
                <a:gd name="T13" fmla="*/ 9 h 17"/>
                <a:gd name="T14" fmla="*/ 8 w 17"/>
                <a:gd name="T15" fmla="*/ 16 h 17"/>
                <a:gd name="T16" fmla="*/ 16 w 17"/>
                <a:gd name="T17" fmla="*/ 12 h 17"/>
                <a:gd name="T18" fmla="*/ 16 w 17"/>
                <a:gd name="T1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6" y="9"/>
                  </a:moveTo>
                  <a:lnTo>
                    <a:pt x="16" y="6"/>
                  </a:lnTo>
                  <a:lnTo>
                    <a:pt x="16" y="0"/>
                  </a:lnTo>
                  <a:lnTo>
                    <a:pt x="8" y="0"/>
                  </a:lnTo>
                  <a:lnTo>
                    <a:pt x="0" y="3"/>
                  </a:lnTo>
                  <a:lnTo>
                    <a:pt x="0" y="6"/>
                  </a:lnTo>
                  <a:lnTo>
                    <a:pt x="0" y="9"/>
                  </a:lnTo>
                  <a:lnTo>
                    <a:pt x="8" y="16"/>
                  </a:lnTo>
                  <a:lnTo>
                    <a:pt x="16" y="12"/>
                  </a:lnTo>
                  <a:lnTo>
                    <a:pt x="16" y="9"/>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2" name="Freeform 56">
              <a:extLst>
                <a:ext uri="{FF2B5EF4-FFF2-40B4-BE49-F238E27FC236}">
                  <a16:creationId xmlns:a16="http://schemas.microsoft.com/office/drawing/2014/main" id="{645B943E-CD41-FA2D-6ABE-52D07573FF25}"/>
                </a:ext>
              </a:extLst>
            </p:cNvPr>
            <p:cNvSpPr>
              <a:spLocks/>
            </p:cNvSpPr>
            <p:nvPr/>
          </p:nvSpPr>
          <p:spPr bwMode="auto">
            <a:xfrm>
              <a:off x="2644" y="2413"/>
              <a:ext cx="20" cy="20"/>
            </a:xfrm>
            <a:custGeom>
              <a:avLst/>
              <a:gdLst>
                <a:gd name="T0" fmla="*/ 6 w 17"/>
                <a:gd name="T1" fmla="*/ 16 h 17"/>
                <a:gd name="T2" fmla="*/ 9 w 17"/>
                <a:gd name="T3" fmla="*/ 14 h 17"/>
                <a:gd name="T4" fmla="*/ 9 w 17"/>
                <a:gd name="T5" fmla="*/ 12 h 17"/>
                <a:gd name="T6" fmla="*/ 11 w 17"/>
                <a:gd name="T7" fmla="*/ 10 h 17"/>
                <a:gd name="T8" fmla="*/ 16 w 17"/>
                <a:gd name="T9" fmla="*/ 6 h 17"/>
                <a:gd name="T10" fmla="*/ 16 w 17"/>
                <a:gd name="T11" fmla="*/ 4 h 17"/>
                <a:gd name="T12" fmla="*/ 13 w 17"/>
                <a:gd name="T13" fmla="*/ 2 h 17"/>
                <a:gd name="T14" fmla="*/ 16 w 17"/>
                <a:gd name="T15" fmla="*/ 0 h 17"/>
                <a:gd name="T16" fmla="*/ 11 w 17"/>
                <a:gd name="T17" fmla="*/ 0 h 17"/>
                <a:gd name="T18" fmla="*/ 9 w 17"/>
                <a:gd name="T19" fmla="*/ 2 h 17"/>
                <a:gd name="T20" fmla="*/ 9 w 17"/>
                <a:gd name="T21" fmla="*/ 6 h 17"/>
                <a:gd name="T22" fmla="*/ 9 w 17"/>
                <a:gd name="T23" fmla="*/ 8 h 17"/>
                <a:gd name="T24" fmla="*/ 4 w 17"/>
                <a:gd name="T25" fmla="*/ 12 h 17"/>
                <a:gd name="T26" fmla="*/ 0 w 17"/>
                <a:gd name="T27" fmla="*/ 12 h 17"/>
                <a:gd name="T28" fmla="*/ 6 w 17"/>
                <a:gd name="T2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6" y="16"/>
                  </a:moveTo>
                  <a:lnTo>
                    <a:pt x="9" y="14"/>
                  </a:lnTo>
                  <a:lnTo>
                    <a:pt x="9" y="12"/>
                  </a:lnTo>
                  <a:lnTo>
                    <a:pt x="11" y="10"/>
                  </a:lnTo>
                  <a:lnTo>
                    <a:pt x="16" y="6"/>
                  </a:lnTo>
                  <a:lnTo>
                    <a:pt x="16" y="4"/>
                  </a:lnTo>
                  <a:lnTo>
                    <a:pt x="13" y="2"/>
                  </a:lnTo>
                  <a:lnTo>
                    <a:pt x="16" y="0"/>
                  </a:lnTo>
                  <a:lnTo>
                    <a:pt x="11" y="0"/>
                  </a:lnTo>
                  <a:lnTo>
                    <a:pt x="9" y="2"/>
                  </a:lnTo>
                  <a:lnTo>
                    <a:pt x="9" y="6"/>
                  </a:lnTo>
                  <a:lnTo>
                    <a:pt x="9" y="8"/>
                  </a:lnTo>
                  <a:lnTo>
                    <a:pt x="4" y="12"/>
                  </a:lnTo>
                  <a:lnTo>
                    <a:pt x="0" y="12"/>
                  </a:lnTo>
                  <a:lnTo>
                    <a:pt x="6"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3" name="Freeform 57">
              <a:extLst>
                <a:ext uri="{FF2B5EF4-FFF2-40B4-BE49-F238E27FC236}">
                  <a16:creationId xmlns:a16="http://schemas.microsoft.com/office/drawing/2014/main" id="{6F647A21-F23B-B68D-D7EC-2F2C16771097}"/>
                </a:ext>
              </a:extLst>
            </p:cNvPr>
            <p:cNvSpPr>
              <a:spLocks/>
            </p:cNvSpPr>
            <p:nvPr/>
          </p:nvSpPr>
          <p:spPr bwMode="auto">
            <a:xfrm>
              <a:off x="2636" y="2419"/>
              <a:ext cx="20" cy="19"/>
            </a:xfrm>
            <a:custGeom>
              <a:avLst/>
              <a:gdLst>
                <a:gd name="T0" fmla="*/ 16 w 17"/>
                <a:gd name="T1" fmla="*/ 16 h 17"/>
                <a:gd name="T2" fmla="*/ 16 w 17"/>
                <a:gd name="T3" fmla="*/ 16 h 17"/>
                <a:gd name="T4" fmla="*/ 16 w 17"/>
                <a:gd name="T5" fmla="*/ 0 h 17"/>
                <a:gd name="T6" fmla="*/ 0 w 17"/>
                <a:gd name="T7" fmla="*/ 0 h 17"/>
                <a:gd name="T8" fmla="*/ 16 w 17"/>
                <a:gd name="T9" fmla="*/ 0 h 17"/>
                <a:gd name="T10" fmla="*/ 0 w 17"/>
                <a:gd name="T11" fmla="*/ 16 h 17"/>
                <a:gd name="T12" fmla="*/ 16 w 17"/>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6" y="16"/>
                  </a:moveTo>
                  <a:lnTo>
                    <a:pt x="16" y="16"/>
                  </a:lnTo>
                  <a:lnTo>
                    <a:pt x="16" y="0"/>
                  </a:lnTo>
                  <a:lnTo>
                    <a:pt x="0" y="0"/>
                  </a:lnTo>
                  <a:lnTo>
                    <a:pt x="16" y="0"/>
                  </a:lnTo>
                  <a:lnTo>
                    <a:pt x="0" y="16"/>
                  </a:lnTo>
                  <a:lnTo>
                    <a:pt x="16"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4" name="Freeform 58">
              <a:extLst>
                <a:ext uri="{FF2B5EF4-FFF2-40B4-BE49-F238E27FC236}">
                  <a16:creationId xmlns:a16="http://schemas.microsoft.com/office/drawing/2014/main" id="{472564C7-F34A-324D-C064-9653F8746724}"/>
                </a:ext>
              </a:extLst>
            </p:cNvPr>
            <p:cNvSpPr>
              <a:spLocks/>
            </p:cNvSpPr>
            <p:nvPr/>
          </p:nvSpPr>
          <p:spPr bwMode="auto">
            <a:xfrm>
              <a:off x="2632" y="2412"/>
              <a:ext cx="19" cy="19"/>
            </a:xfrm>
            <a:custGeom>
              <a:avLst/>
              <a:gdLst>
                <a:gd name="T0" fmla="*/ 16 w 17"/>
                <a:gd name="T1" fmla="*/ 16 h 17"/>
                <a:gd name="T2" fmla="*/ 16 w 17"/>
                <a:gd name="T3" fmla="*/ 16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16"/>
                  </a:lnTo>
                  <a:lnTo>
                    <a:pt x="0" y="0"/>
                  </a:lnTo>
                  <a:lnTo>
                    <a:pt x="16"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5" name="Freeform 59">
              <a:extLst>
                <a:ext uri="{FF2B5EF4-FFF2-40B4-BE49-F238E27FC236}">
                  <a16:creationId xmlns:a16="http://schemas.microsoft.com/office/drawing/2014/main" id="{F6CA3BCC-56DF-34E5-559A-42932D66566E}"/>
                </a:ext>
              </a:extLst>
            </p:cNvPr>
            <p:cNvSpPr>
              <a:spLocks/>
            </p:cNvSpPr>
            <p:nvPr/>
          </p:nvSpPr>
          <p:spPr bwMode="auto">
            <a:xfrm>
              <a:off x="2638" y="2410"/>
              <a:ext cx="19" cy="19"/>
            </a:xfrm>
            <a:custGeom>
              <a:avLst/>
              <a:gdLst>
                <a:gd name="T0" fmla="*/ 0 w 17"/>
                <a:gd name="T1" fmla="*/ 16 h 17"/>
                <a:gd name="T2" fmla="*/ 8 w 17"/>
                <a:gd name="T3" fmla="*/ 16 h 17"/>
                <a:gd name="T4" fmla="*/ 16 w 17"/>
                <a:gd name="T5" fmla="*/ 10 h 17"/>
                <a:gd name="T6" fmla="*/ 16 w 17"/>
                <a:gd name="T7" fmla="*/ 5 h 17"/>
                <a:gd name="T8" fmla="*/ 16 w 17"/>
                <a:gd name="T9" fmla="*/ 0 h 17"/>
                <a:gd name="T10" fmla="*/ 8 w 17"/>
                <a:gd name="T11" fmla="*/ 0 h 17"/>
                <a:gd name="T12" fmla="*/ 0 w 17"/>
                <a:gd name="T13" fmla="*/ 5 h 17"/>
                <a:gd name="T14" fmla="*/ 0 w 17"/>
                <a:gd name="T15" fmla="*/ 10 h 17"/>
                <a:gd name="T16" fmla="*/ 0 w 17"/>
                <a:gd name="T1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0" y="16"/>
                  </a:moveTo>
                  <a:lnTo>
                    <a:pt x="8" y="16"/>
                  </a:lnTo>
                  <a:lnTo>
                    <a:pt x="16" y="10"/>
                  </a:lnTo>
                  <a:lnTo>
                    <a:pt x="16" y="5"/>
                  </a:lnTo>
                  <a:lnTo>
                    <a:pt x="16" y="0"/>
                  </a:lnTo>
                  <a:lnTo>
                    <a:pt x="8" y="0"/>
                  </a:lnTo>
                  <a:lnTo>
                    <a:pt x="0" y="5"/>
                  </a:lnTo>
                  <a:lnTo>
                    <a:pt x="0" y="10"/>
                  </a:lnTo>
                  <a:lnTo>
                    <a:pt x="0" y="1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6" name="Freeform 60">
              <a:extLst>
                <a:ext uri="{FF2B5EF4-FFF2-40B4-BE49-F238E27FC236}">
                  <a16:creationId xmlns:a16="http://schemas.microsoft.com/office/drawing/2014/main" id="{483A46D6-0E74-9541-8615-F930A0020AA5}"/>
                </a:ext>
              </a:extLst>
            </p:cNvPr>
            <p:cNvSpPr>
              <a:spLocks/>
            </p:cNvSpPr>
            <p:nvPr/>
          </p:nvSpPr>
          <p:spPr bwMode="auto">
            <a:xfrm>
              <a:off x="2640" y="2410"/>
              <a:ext cx="20" cy="19"/>
            </a:xfrm>
            <a:custGeom>
              <a:avLst/>
              <a:gdLst>
                <a:gd name="T0" fmla="*/ 0 w 17"/>
                <a:gd name="T1" fmla="*/ 0 h 17"/>
                <a:gd name="T2" fmla="*/ 0 w 17"/>
                <a:gd name="T3" fmla="*/ 5 h 17"/>
                <a:gd name="T4" fmla="*/ 0 w 17"/>
                <a:gd name="T5" fmla="*/ 10 h 17"/>
                <a:gd name="T6" fmla="*/ 0 w 17"/>
                <a:gd name="T7" fmla="*/ 16 h 17"/>
                <a:gd name="T8" fmla="*/ 16 w 17"/>
                <a:gd name="T9" fmla="*/ 16 h 17"/>
                <a:gd name="T10" fmla="*/ 16 w 17"/>
                <a:gd name="T11" fmla="*/ 10 h 17"/>
                <a:gd name="T12" fmla="*/ 16 w 17"/>
                <a:gd name="T13" fmla="*/ 0 h 17"/>
                <a:gd name="T14" fmla="*/ 0 w 17"/>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0" y="0"/>
                  </a:moveTo>
                  <a:lnTo>
                    <a:pt x="0" y="5"/>
                  </a:lnTo>
                  <a:lnTo>
                    <a:pt x="0" y="10"/>
                  </a:lnTo>
                  <a:lnTo>
                    <a:pt x="0" y="16"/>
                  </a:lnTo>
                  <a:lnTo>
                    <a:pt x="16" y="16"/>
                  </a:lnTo>
                  <a:lnTo>
                    <a:pt x="16" y="10"/>
                  </a:lnTo>
                  <a:lnTo>
                    <a:pt x="16" y="0"/>
                  </a:lnTo>
                  <a:lnTo>
                    <a:pt x="0"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7" name="Freeform 61">
              <a:extLst>
                <a:ext uri="{FF2B5EF4-FFF2-40B4-BE49-F238E27FC236}">
                  <a16:creationId xmlns:a16="http://schemas.microsoft.com/office/drawing/2014/main" id="{5228490E-DFA6-492F-991A-E250403BB1F6}"/>
                </a:ext>
              </a:extLst>
            </p:cNvPr>
            <p:cNvSpPr>
              <a:spLocks/>
            </p:cNvSpPr>
            <p:nvPr/>
          </p:nvSpPr>
          <p:spPr bwMode="auto">
            <a:xfrm>
              <a:off x="3520" y="1547"/>
              <a:ext cx="1510" cy="1158"/>
            </a:xfrm>
            <a:custGeom>
              <a:avLst/>
              <a:gdLst>
                <a:gd name="T0" fmla="*/ 103 w 1303"/>
                <a:gd name="T1" fmla="*/ 191 h 1017"/>
                <a:gd name="T2" fmla="*/ 84 w 1303"/>
                <a:gd name="T3" fmla="*/ 134 h 1017"/>
                <a:gd name="T4" fmla="*/ 187 w 1303"/>
                <a:gd name="T5" fmla="*/ 87 h 1017"/>
                <a:gd name="T6" fmla="*/ 231 w 1303"/>
                <a:gd name="T7" fmla="*/ 52 h 1017"/>
                <a:gd name="T8" fmla="*/ 312 w 1303"/>
                <a:gd name="T9" fmla="*/ 44 h 1017"/>
                <a:gd name="T10" fmla="*/ 562 w 1303"/>
                <a:gd name="T11" fmla="*/ 45 h 1017"/>
                <a:gd name="T12" fmla="*/ 687 w 1303"/>
                <a:gd name="T13" fmla="*/ 64 h 1017"/>
                <a:gd name="T14" fmla="*/ 639 w 1303"/>
                <a:gd name="T15" fmla="*/ 62 h 1017"/>
                <a:gd name="T16" fmla="*/ 606 w 1303"/>
                <a:gd name="T17" fmla="*/ 2 h 1017"/>
                <a:gd name="T18" fmla="*/ 671 w 1303"/>
                <a:gd name="T19" fmla="*/ 0 h 1017"/>
                <a:gd name="T20" fmla="*/ 717 w 1303"/>
                <a:gd name="T21" fmla="*/ 28 h 1017"/>
                <a:gd name="T22" fmla="*/ 791 w 1303"/>
                <a:gd name="T23" fmla="*/ 68 h 1017"/>
                <a:gd name="T24" fmla="*/ 778 w 1303"/>
                <a:gd name="T25" fmla="*/ 21 h 1017"/>
                <a:gd name="T26" fmla="*/ 914 w 1303"/>
                <a:gd name="T27" fmla="*/ 65 h 1017"/>
                <a:gd name="T28" fmla="*/ 916 w 1303"/>
                <a:gd name="T29" fmla="*/ 84 h 1017"/>
                <a:gd name="T30" fmla="*/ 874 w 1303"/>
                <a:gd name="T31" fmla="*/ 130 h 1017"/>
                <a:gd name="T32" fmla="*/ 840 w 1303"/>
                <a:gd name="T33" fmla="*/ 204 h 1017"/>
                <a:gd name="T34" fmla="*/ 966 w 1303"/>
                <a:gd name="T35" fmla="*/ 247 h 1017"/>
                <a:gd name="T36" fmla="*/ 970 w 1303"/>
                <a:gd name="T37" fmla="*/ 315 h 1017"/>
                <a:gd name="T38" fmla="*/ 987 w 1303"/>
                <a:gd name="T39" fmla="*/ 264 h 1017"/>
                <a:gd name="T40" fmla="*/ 987 w 1303"/>
                <a:gd name="T41" fmla="*/ 169 h 1017"/>
                <a:gd name="T42" fmla="*/ 1080 w 1303"/>
                <a:gd name="T43" fmla="*/ 194 h 1017"/>
                <a:gd name="T44" fmla="*/ 1137 w 1303"/>
                <a:gd name="T45" fmla="*/ 166 h 1017"/>
                <a:gd name="T46" fmla="*/ 1235 w 1303"/>
                <a:gd name="T47" fmla="*/ 234 h 1017"/>
                <a:gd name="T48" fmla="*/ 1302 w 1303"/>
                <a:gd name="T49" fmla="*/ 293 h 1017"/>
                <a:gd name="T50" fmla="*/ 1248 w 1303"/>
                <a:gd name="T51" fmla="*/ 318 h 1017"/>
                <a:gd name="T52" fmla="*/ 1157 w 1303"/>
                <a:gd name="T53" fmla="*/ 339 h 1017"/>
                <a:gd name="T54" fmla="*/ 1221 w 1303"/>
                <a:gd name="T55" fmla="*/ 349 h 1017"/>
                <a:gd name="T56" fmla="*/ 1248 w 1303"/>
                <a:gd name="T57" fmla="*/ 406 h 1017"/>
                <a:gd name="T58" fmla="*/ 1221 w 1303"/>
                <a:gd name="T59" fmla="*/ 410 h 1017"/>
                <a:gd name="T60" fmla="*/ 1187 w 1303"/>
                <a:gd name="T61" fmla="*/ 431 h 1017"/>
                <a:gd name="T62" fmla="*/ 1124 w 1303"/>
                <a:gd name="T63" fmla="*/ 480 h 1017"/>
                <a:gd name="T64" fmla="*/ 1118 w 1303"/>
                <a:gd name="T65" fmla="*/ 551 h 1017"/>
                <a:gd name="T66" fmla="*/ 1056 w 1303"/>
                <a:gd name="T67" fmla="*/ 656 h 1017"/>
                <a:gd name="T68" fmla="*/ 1073 w 1303"/>
                <a:gd name="T69" fmla="*/ 748 h 1017"/>
                <a:gd name="T70" fmla="*/ 1036 w 1303"/>
                <a:gd name="T71" fmla="*/ 687 h 1017"/>
                <a:gd name="T72" fmla="*/ 976 w 1303"/>
                <a:gd name="T73" fmla="*/ 661 h 1017"/>
                <a:gd name="T74" fmla="*/ 920 w 1303"/>
                <a:gd name="T75" fmla="*/ 676 h 1017"/>
                <a:gd name="T76" fmla="*/ 831 w 1303"/>
                <a:gd name="T77" fmla="*/ 687 h 1017"/>
                <a:gd name="T78" fmla="*/ 784 w 1303"/>
                <a:gd name="T79" fmla="*/ 755 h 1017"/>
                <a:gd name="T80" fmla="*/ 887 w 1303"/>
                <a:gd name="T81" fmla="*/ 844 h 1017"/>
                <a:gd name="T82" fmla="*/ 903 w 1303"/>
                <a:gd name="T83" fmla="*/ 794 h 1017"/>
                <a:gd name="T84" fmla="*/ 962 w 1303"/>
                <a:gd name="T85" fmla="*/ 831 h 1017"/>
                <a:gd name="T86" fmla="*/ 994 w 1303"/>
                <a:gd name="T87" fmla="*/ 882 h 1017"/>
                <a:gd name="T88" fmla="*/ 1020 w 1303"/>
                <a:gd name="T89" fmla="*/ 929 h 1017"/>
                <a:gd name="T90" fmla="*/ 1082 w 1303"/>
                <a:gd name="T91" fmla="*/ 997 h 1017"/>
                <a:gd name="T92" fmla="*/ 1154 w 1303"/>
                <a:gd name="T93" fmla="*/ 1006 h 1017"/>
                <a:gd name="T94" fmla="*/ 1053 w 1303"/>
                <a:gd name="T95" fmla="*/ 1002 h 1017"/>
                <a:gd name="T96" fmla="*/ 1010 w 1303"/>
                <a:gd name="T97" fmla="*/ 959 h 1017"/>
                <a:gd name="T98" fmla="*/ 914 w 1303"/>
                <a:gd name="T99" fmla="*/ 926 h 1017"/>
                <a:gd name="T100" fmla="*/ 828 w 1303"/>
                <a:gd name="T101" fmla="*/ 875 h 1017"/>
                <a:gd name="T102" fmla="*/ 729 w 1303"/>
                <a:gd name="T103" fmla="*/ 868 h 1017"/>
                <a:gd name="T104" fmla="*/ 620 w 1303"/>
                <a:gd name="T105" fmla="*/ 748 h 1017"/>
                <a:gd name="T106" fmla="*/ 570 w 1303"/>
                <a:gd name="T107" fmla="*/ 725 h 1017"/>
                <a:gd name="T108" fmla="*/ 510 w 1303"/>
                <a:gd name="T109" fmla="*/ 718 h 1017"/>
                <a:gd name="T110" fmla="*/ 481 w 1303"/>
                <a:gd name="T111" fmla="*/ 622 h 1017"/>
                <a:gd name="T112" fmla="*/ 426 w 1303"/>
                <a:gd name="T113" fmla="*/ 431 h 1017"/>
                <a:gd name="T114" fmla="*/ 405 w 1303"/>
                <a:gd name="T115" fmla="*/ 321 h 1017"/>
                <a:gd name="T116" fmla="*/ 382 w 1303"/>
                <a:gd name="T117" fmla="*/ 248 h 1017"/>
                <a:gd name="T118" fmla="*/ 358 w 1303"/>
                <a:gd name="T119" fmla="*/ 196 h 1017"/>
                <a:gd name="T120" fmla="*/ 246 w 1303"/>
                <a:gd name="T121" fmla="*/ 173 h 1017"/>
                <a:gd name="T122" fmla="*/ 211 w 1303"/>
                <a:gd name="T123" fmla="*/ 166 h 1017"/>
                <a:gd name="T124" fmla="*/ 24 w 1303"/>
                <a:gd name="T125" fmla="*/ 265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3" h="1017">
                  <a:moveTo>
                    <a:pt x="0" y="264"/>
                  </a:moveTo>
                  <a:lnTo>
                    <a:pt x="63" y="227"/>
                  </a:lnTo>
                  <a:lnTo>
                    <a:pt x="97" y="214"/>
                  </a:lnTo>
                  <a:lnTo>
                    <a:pt x="103" y="191"/>
                  </a:lnTo>
                  <a:lnTo>
                    <a:pt x="74" y="178"/>
                  </a:lnTo>
                  <a:lnTo>
                    <a:pt x="73" y="152"/>
                  </a:lnTo>
                  <a:lnTo>
                    <a:pt x="86" y="146"/>
                  </a:lnTo>
                  <a:lnTo>
                    <a:pt x="84" y="134"/>
                  </a:lnTo>
                  <a:lnTo>
                    <a:pt x="133" y="130"/>
                  </a:lnTo>
                  <a:lnTo>
                    <a:pt x="145" y="109"/>
                  </a:lnTo>
                  <a:lnTo>
                    <a:pt x="147" y="91"/>
                  </a:lnTo>
                  <a:lnTo>
                    <a:pt x="187" y="87"/>
                  </a:lnTo>
                  <a:lnTo>
                    <a:pt x="190" y="68"/>
                  </a:lnTo>
                  <a:lnTo>
                    <a:pt x="150" y="64"/>
                  </a:lnTo>
                  <a:lnTo>
                    <a:pt x="170" y="52"/>
                  </a:lnTo>
                  <a:lnTo>
                    <a:pt x="231" y="52"/>
                  </a:lnTo>
                  <a:lnTo>
                    <a:pt x="250" y="37"/>
                  </a:lnTo>
                  <a:lnTo>
                    <a:pt x="277" y="34"/>
                  </a:lnTo>
                  <a:lnTo>
                    <a:pt x="292" y="21"/>
                  </a:lnTo>
                  <a:lnTo>
                    <a:pt x="312" y="44"/>
                  </a:lnTo>
                  <a:lnTo>
                    <a:pt x="391" y="39"/>
                  </a:lnTo>
                  <a:lnTo>
                    <a:pt x="426" y="62"/>
                  </a:lnTo>
                  <a:lnTo>
                    <a:pt x="544" y="56"/>
                  </a:lnTo>
                  <a:lnTo>
                    <a:pt x="562" y="45"/>
                  </a:lnTo>
                  <a:lnTo>
                    <a:pt x="604" y="64"/>
                  </a:lnTo>
                  <a:lnTo>
                    <a:pt x="653" y="78"/>
                  </a:lnTo>
                  <a:lnTo>
                    <a:pt x="674" y="74"/>
                  </a:lnTo>
                  <a:lnTo>
                    <a:pt x="687" y="64"/>
                  </a:lnTo>
                  <a:lnTo>
                    <a:pt x="728" y="68"/>
                  </a:lnTo>
                  <a:lnTo>
                    <a:pt x="701" y="56"/>
                  </a:lnTo>
                  <a:lnTo>
                    <a:pt x="676" y="58"/>
                  </a:lnTo>
                  <a:lnTo>
                    <a:pt x="639" y="62"/>
                  </a:lnTo>
                  <a:lnTo>
                    <a:pt x="623" y="44"/>
                  </a:lnTo>
                  <a:lnTo>
                    <a:pt x="603" y="34"/>
                  </a:lnTo>
                  <a:lnTo>
                    <a:pt x="603" y="18"/>
                  </a:lnTo>
                  <a:lnTo>
                    <a:pt x="606" y="2"/>
                  </a:lnTo>
                  <a:lnTo>
                    <a:pt x="625" y="0"/>
                  </a:lnTo>
                  <a:lnTo>
                    <a:pt x="646" y="14"/>
                  </a:lnTo>
                  <a:lnTo>
                    <a:pt x="653" y="7"/>
                  </a:lnTo>
                  <a:lnTo>
                    <a:pt x="671" y="0"/>
                  </a:lnTo>
                  <a:lnTo>
                    <a:pt x="690" y="11"/>
                  </a:lnTo>
                  <a:lnTo>
                    <a:pt x="704" y="2"/>
                  </a:lnTo>
                  <a:lnTo>
                    <a:pt x="715" y="15"/>
                  </a:lnTo>
                  <a:lnTo>
                    <a:pt x="717" y="28"/>
                  </a:lnTo>
                  <a:lnTo>
                    <a:pt x="750" y="39"/>
                  </a:lnTo>
                  <a:lnTo>
                    <a:pt x="736" y="52"/>
                  </a:lnTo>
                  <a:lnTo>
                    <a:pt x="736" y="64"/>
                  </a:lnTo>
                  <a:lnTo>
                    <a:pt x="791" y="68"/>
                  </a:lnTo>
                  <a:lnTo>
                    <a:pt x="806" y="52"/>
                  </a:lnTo>
                  <a:lnTo>
                    <a:pt x="796" y="41"/>
                  </a:lnTo>
                  <a:lnTo>
                    <a:pt x="771" y="44"/>
                  </a:lnTo>
                  <a:lnTo>
                    <a:pt x="778" y="21"/>
                  </a:lnTo>
                  <a:lnTo>
                    <a:pt x="826" y="34"/>
                  </a:lnTo>
                  <a:lnTo>
                    <a:pt x="837" y="51"/>
                  </a:lnTo>
                  <a:lnTo>
                    <a:pt x="876" y="51"/>
                  </a:lnTo>
                  <a:lnTo>
                    <a:pt x="914" y="65"/>
                  </a:lnTo>
                  <a:lnTo>
                    <a:pt x="934" y="64"/>
                  </a:lnTo>
                  <a:lnTo>
                    <a:pt x="956" y="78"/>
                  </a:lnTo>
                  <a:lnTo>
                    <a:pt x="934" y="101"/>
                  </a:lnTo>
                  <a:lnTo>
                    <a:pt x="916" y="84"/>
                  </a:lnTo>
                  <a:lnTo>
                    <a:pt x="903" y="90"/>
                  </a:lnTo>
                  <a:lnTo>
                    <a:pt x="887" y="102"/>
                  </a:lnTo>
                  <a:lnTo>
                    <a:pt x="860" y="114"/>
                  </a:lnTo>
                  <a:lnTo>
                    <a:pt x="874" y="130"/>
                  </a:lnTo>
                  <a:lnTo>
                    <a:pt x="851" y="132"/>
                  </a:lnTo>
                  <a:lnTo>
                    <a:pt x="831" y="153"/>
                  </a:lnTo>
                  <a:lnTo>
                    <a:pt x="810" y="182"/>
                  </a:lnTo>
                  <a:lnTo>
                    <a:pt x="840" y="204"/>
                  </a:lnTo>
                  <a:lnTo>
                    <a:pt x="865" y="233"/>
                  </a:lnTo>
                  <a:lnTo>
                    <a:pt x="908" y="238"/>
                  </a:lnTo>
                  <a:lnTo>
                    <a:pt x="950" y="233"/>
                  </a:lnTo>
                  <a:lnTo>
                    <a:pt x="966" y="247"/>
                  </a:lnTo>
                  <a:lnTo>
                    <a:pt x="958" y="254"/>
                  </a:lnTo>
                  <a:lnTo>
                    <a:pt x="945" y="268"/>
                  </a:lnTo>
                  <a:lnTo>
                    <a:pt x="964" y="293"/>
                  </a:lnTo>
                  <a:lnTo>
                    <a:pt x="970" y="315"/>
                  </a:lnTo>
                  <a:lnTo>
                    <a:pt x="992" y="321"/>
                  </a:lnTo>
                  <a:lnTo>
                    <a:pt x="1021" y="305"/>
                  </a:lnTo>
                  <a:lnTo>
                    <a:pt x="1014" y="281"/>
                  </a:lnTo>
                  <a:lnTo>
                    <a:pt x="987" y="264"/>
                  </a:lnTo>
                  <a:lnTo>
                    <a:pt x="1019" y="239"/>
                  </a:lnTo>
                  <a:lnTo>
                    <a:pt x="992" y="197"/>
                  </a:lnTo>
                  <a:lnTo>
                    <a:pt x="969" y="182"/>
                  </a:lnTo>
                  <a:lnTo>
                    <a:pt x="987" y="169"/>
                  </a:lnTo>
                  <a:lnTo>
                    <a:pt x="984" y="146"/>
                  </a:lnTo>
                  <a:lnTo>
                    <a:pt x="1000" y="132"/>
                  </a:lnTo>
                  <a:lnTo>
                    <a:pt x="1021" y="146"/>
                  </a:lnTo>
                  <a:lnTo>
                    <a:pt x="1080" y="194"/>
                  </a:lnTo>
                  <a:lnTo>
                    <a:pt x="1112" y="198"/>
                  </a:lnTo>
                  <a:lnTo>
                    <a:pt x="1123" y="187"/>
                  </a:lnTo>
                  <a:lnTo>
                    <a:pt x="1115" y="161"/>
                  </a:lnTo>
                  <a:lnTo>
                    <a:pt x="1137" y="166"/>
                  </a:lnTo>
                  <a:lnTo>
                    <a:pt x="1167" y="196"/>
                  </a:lnTo>
                  <a:lnTo>
                    <a:pt x="1174" y="210"/>
                  </a:lnTo>
                  <a:lnTo>
                    <a:pt x="1194" y="221"/>
                  </a:lnTo>
                  <a:lnTo>
                    <a:pt x="1235" y="234"/>
                  </a:lnTo>
                  <a:lnTo>
                    <a:pt x="1255" y="258"/>
                  </a:lnTo>
                  <a:lnTo>
                    <a:pt x="1287" y="273"/>
                  </a:lnTo>
                  <a:lnTo>
                    <a:pt x="1301" y="279"/>
                  </a:lnTo>
                  <a:lnTo>
                    <a:pt x="1302" y="293"/>
                  </a:lnTo>
                  <a:lnTo>
                    <a:pt x="1277" y="303"/>
                  </a:lnTo>
                  <a:lnTo>
                    <a:pt x="1266" y="292"/>
                  </a:lnTo>
                  <a:lnTo>
                    <a:pt x="1252" y="293"/>
                  </a:lnTo>
                  <a:lnTo>
                    <a:pt x="1248" y="318"/>
                  </a:lnTo>
                  <a:lnTo>
                    <a:pt x="1227" y="322"/>
                  </a:lnTo>
                  <a:lnTo>
                    <a:pt x="1208" y="312"/>
                  </a:lnTo>
                  <a:lnTo>
                    <a:pt x="1163" y="312"/>
                  </a:lnTo>
                  <a:lnTo>
                    <a:pt x="1157" y="339"/>
                  </a:lnTo>
                  <a:lnTo>
                    <a:pt x="1166" y="355"/>
                  </a:lnTo>
                  <a:lnTo>
                    <a:pt x="1187" y="345"/>
                  </a:lnTo>
                  <a:lnTo>
                    <a:pt x="1202" y="341"/>
                  </a:lnTo>
                  <a:lnTo>
                    <a:pt x="1221" y="349"/>
                  </a:lnTo>
                  <a:lnTo>
                    <a:pt x="1197" y="371"/>
                  </a:lnTo>
                  <a:lnTo>
                    <a:pt x="1221" y="388"/>
                  </a:lnTo>
                  <a:lnTo>
                    <a:pt x="1252" y="393"/>
                  </a:lnTo>
                  <a:lnTo>
                    <a:pt x="1248" y="406"/>
                  </a:lnTo>
                  <a:lnTo>
                    <a:pt x="1239" y="409"/>
                  </a:lnTo>
                  <a:lnTo>
                    <a:pt x="1208" y="467"/>
                  </a:lnTo>
                  <a:lnTo>
                    <a:pt x="1211" y="430"/>
                  </a:lnTo>
                  <a:lnTo>
                    <a:pt x="1221" y="410"/>
                  </a:lnTo>
                  <a:lnTo>
                    <a:pt x="1208" y="399"/>
                  </a:lnTo>
                  <a:lnTo>
                    <a:pt x="1191" y="411"/>
                  </a:lnTo>
                  <a:lnTo>
                    <a:pt x="1199" y="423"/>
                  </a:lnTo>
                  <a:lnTo>
                    <a:pt x="1187" y="431"/>
                  </a:lnTo>
                  <a:lnTo>
                    <a:pt x="1171" y="440"/>
                  </a:lnTo>
                  <a:lnTo>
                    <a:pt x="1172" y="466"/>
                  </a:lnTo>
                  <a:lnTo>
                    <a:pt x="1154" y="478"/>
                  </a:lnTo>
                  <a:lnTo>
                    <a:pt x="1124" y="480"/>
                  </a:lnTo>
                  <a:lnTo>
                    <a:pt x="1137" y="494"/>
                  </a:lnTo>
                  <a:lnTo>
                    <a:pt x="1124" y="510"/>
                  </a:lnTo>
                  <a:lnTo>
                    <a:pt x="1137" y="524"/>
                  </a:lnTo>
                  <a:lnTo>
                    <a:pt x="1118" y="551"/>
                  </a:lnTo>
                  <a:lnTo>
                    <a:pt x="1112" y="575"/>
                  </a:lnTo>
                  <a:lnTo>
                    <a:pt x="1088" y="591"/>
                  </a:lnTo>
                  <a:lnTo>
                    <a:pt x="1059" y="629"/>
                  </a:lnTo>
                  <a:lnTo>
                    <a:pt x="1056" y="656"/>
                  </a:lnTo>
                  <a:lnTo>
                    <a:pt x="1063" y="679"/>
                  </a:lnTo>
                  <a:lnTo>
                    <a:pt x="1080" y="707"/>
                  </a:lnTo>
                  <a:lnTo>
                    <a:pt x="1087" y="736"/>
                  </a:lnTo>
                  <a:lnTo>
                    <a:pt x="1073" y="748"/>
                  </a:lnTo>
                  <a:lnTo>
                    <a:pt x="1056" y="740"/>
                  </a:lnTo>
                  <a:lnTo>
                    <a:pt x="1059" y="723"/>
                  </a:lnTo>
                  <a:lnTo>
                    <a:pt x="1049" y="693"/>
                  </a:lnTo>
                  <a:lnTo>
                    <a:pt x="1036" y="687"/>
                  </a:lnTo>
                  <a:lnTo>
                    <a:pt x="1031" y="668"/>
                  </a:lnTo>
                  <a:lnTo>
                    <a:pt x="1012" y="668"/>
                  </a:lnTo>
                  <a:lnTo>
                    <a:pt x="994" y="655"/>
                  </a:lnTo>
                  <a:lnTo>
                    <a:pt x="976" y="661"/>
                  </a:lnTo>
                  <a:lnTo>
                    <a:pt x="956" y="651"/>
                  </a:lnTo>
                  <a:lnTo>
                    <a:pt x="934" y="662"/>
                  </a:lnTo>
                  <a:lnTo>
                    <a:pt x="895" y="654"/>
                  </a:lnTo>
                  <a:lnTo>
                    <a:pt x="920" y="676"/>
                  </a:lnTo>
                  <a:lnTo>
                    <a:pt x="887" y="675"/>
                  </a:lnTo>
                  <a:lnTo>
                    <a:pt x="865" y="656"/>
                  </a:lnTo>
                  <a:lnTo>
                    <a:pt x="825" y="656"/>
                  </a:lnTo>
                  <a:lnTo>
                    <a:pt x="831" y="687"/>
                  </a:lnTo>
                  <a:lnTo>
                    <a:pt x="800" y="676"/>
                  </a:lnTo>
                  <a:lnTo>
                    <a:pt x="784" y="707"/>
                  </a:lnTo>
                  <a:lnTo>
                    <a:pt x="796" y="719"/>
                  </a:lnTo>
                  <a:lnTo>
                    <a:pt x="784" y="755"/>
                  </a:lnTo>
                  <a:lnTo>
                    <a:pt x="798" y="794"/>
                  </a:lnTo>
                  <a:lnTo>
                    <a:pt x="814" y="821"/>
                  </a:lnTo>
                  <a:lnTo>
                    <a:pt x="832" y="847"/>
                  </a:lnTo>
                  <a:lnTo>
                    <a:pt x="887" y="844"/>
                  </a:lnTo>
                  <a:lnTo>
                    <a:pt x="909" y="839"/>
                  </a:lnTo>
                  <a:lnTo>
                    <a:pt x="914" y="821"/>
                  </a:lnTo>
                  <a:lnTo>
                    <a:pt x="902" y="808"/>
                  </a:lnTo>
                  <a:lnTo>
                    <a:pt x="903" y="794"/>
                  </a:lnTo>
                  <a:lnTo>
                    <a:pt x="937" y="796"/>
                  </a:lnTo>
                  <a:lnTo>
                    <a:pt x="971" y="791"/>
                  </a:lnTo>
                  <a:lnTo>
                    <a:pt x="971" y="808"/>
                  </a:lnTo>
                  <a:lnTo>
                    <a:pt x="962" y="831"/>
                  </a:lnTo>
                  <a:lnTo>
                    <a:pt x="945" y="849"/>
                  </a:lnTo>
                  <a:lnTo>
                    <a:pt x="942" y="875"/>
                  </a:lnTo>
                  <a:lnTo>
                    <a:pt x="964" y="885"/>
                  </a:lnTo>
                  <a:lnTo>
                    <a:pt x="994" y="882"/>
                  </a:lnTo>
                  <a:lnTo>
                    <a:pt x="1012" y="889"/>
                  </a:lnTo>
                  <a:lnTo>
                    <a:pt x="1031" y="887"/>
                  </a:lnTo>
                  <a:lnTo>
                    <a:pt x="1035" y="903"/>
                  </a:lnTo>
                  <a:lnTo>
                    <a:pt x="1020" y="929"/>
                  </a:lnTo>
                  <a:lnTo>
                    <a:pt x="1033" y="945"/>
                  </a:lnTo>
                  <a:lnTo>
                    <a:pt x="1035" y="972"/>
                  </a:lnTo>
                  <a:lnTo>
                    <a:pt x="1056" y="993"/>
                  </a:lnTo>
                  <a:lnTo>
                    <a:pt x="1082" y="997"/>
                  </a:lnTo>
                  <a:lnTo>
                    <a:pt x="1098" y="993"/>
                  </a:lnTo>
                  <a:lnTo>
                    <a:pt x="1108" y="994"/>
                  </a:lnTo>
                  <a:lnTo>
                    <a:pt x="1140" y="994"/>
                  </a:lnTo>
                  <a:lnTo>
                    <a:pt x="1154" y="1006"/>
                  </a:lnTo>
                  <a:lnTo>
                    <a:pt x="1137" y="1003"/>
                  </a:lnTo>
                  <a:lnTo>
                    <a:pt x="1116" y="1006"/>
                  </a:lnTo>
                  <a:lnTo>
                    <a:pt x="1082" y="1016"/>
                  </a:lnTo>
                  <a:lnTo>
                    <a:pt x="1053" y="1002"/>
                  </a:lnTo>
                  <a:lnTo>
                    <a:pt x="1021" y="993"/>
                  </a:lnTo>
                  <a:lnTo>
                    <a:pt x="1010" y="994"/>
                  </a:lnTo>
                  <a:lnTo>
                    <a:pt x="1012" y="982"/>
                  </a:lnTo>
                  <a:lnTo>
                    <a:pt x="1010" y="959"/>
                  </a:lnTo>
                  <a:lnTo>
                    <a:pt x="986" y="945"/>
                  </a:lnTo>
                  <a:lnTo>
                    <a:pt x="936" y="933"/>
                  </a:lnTo>
                  <a:lnTo>
                    <a:pt x="928" y="924"/>
                  </a:lnTo>
                  <a:lnTo>
                    <a:pt x="914" y="926"/>
                  </a:lnTo>
                  <a:lnTo>
                    <a:pt x="900" y="914"/>
                  </a:lnTo>
                  <a:lnTo>
                    <a:pt x="881" y="908"/>
                  </a:lnTo>
                  <a:lnTo>
                    <a:pt x="856" y="882"/>
                  </a:lnTo>
                  <a:lnTo>
                    <a:pt x="828" y="875"/>
                  </a:lnTo>
                  <a:lnTo>
                    <a:pt x="812" y="889"/>
                  </a:lnTo>
                  <a:lnTo>
                    <a:pt x="792" y="878"/>
                  </a:lnTo>
                  <a:lnTo>
                    <a:pt x="771" y="878"/>
                  </a:lnTo>
                  <a:lnTo>
                    <a:pt x="729" y="868"/>
                  </a:lnTo>
                  <a:lnTo>
                    <a:pt x="648" y="826"/>
                  </a:lnTo>
                  <a:lnTo>
                    <a:pt x="643" y="781"/>
                  </a:lnTo>
                  <a:lnTo>
                    <a:pt x="632" y="763"/>
                  </a:lnTo>
                  <a:lnTo>
                    <a:pt x="620" y="748"/>
                  </a:lnTo>
                  <a:lnTo>
                    <a:pt x="603" y="722"/>
                  </a:lnTo>
                  <a:lnTo>
                    <a:pt x="519" y="637"/>
                  </a:lnTo>
                  <a:lnTo>
                    <a:pt x="519" y="669"/>
                  </a:lnTo>
                  <a:lnTo>
                    <a:pt x="570" y="725"/>
                  </a:lnTo>
                  <a:lnTo>
                    <a:pt x="592" y="775"/>
                  </a:lnTo>
                  <a:lnTo>
                    <a:pt x="558" y="765"/>
                  </a:lnTo>
                  <a:lnTo>
                    <a:pt x="554" y="736"/>
                  </a:lnTo>
                  <a:lnTo>
                    <a:pt x="510" y="718"/>
                  </a:lnTo>
                  <a:lnTo>
                    <a:pt x="535" y="707"/>
                  </a:lnTo>
                  <a:lnTo>
                    <a:pt x="479" y="675"/>
                  </a:lnTo>
                  <a:lnTo>
                    <a:pt x="501" y="656"/>
                  </a:lnTo>
                  <a:lnTo>
                    <a:pt x="481" y="622"/>
                  </a:lnTo>
                  <a:lnTo>
                    <a:pt x="415" y="547"/>
                  </a:lnTo>
                  <a:lnTo>
                    <a:pt x="405" y="503"/>
                  </a:lnTo>
                  <a:lnTo>
                    <a:pt x="409" y="466"/>
                  </a:lnTo>
                  <a:lnTo>
                    <a:pt x="426" y="431"/>
                  </a:lnTo>
                  <a:lnTo>
                    <a:pt x="426" y="393"/>
                  </a:lnTo>
                  <a:lnTo>
                    <a:pt x="415" y="372"/>
                  </a:lnTo>
                  <a:lnTo>
                    <a:pt x="451" y="365"/>
                  </a:lnTo>
                  <a:lnTo>
                    <a:pt x="405" y="321"/>
                  </a:lnTo>
                  <a:lnTo>
                    <a:pt x="407" y="302"/>
                  </a:lnTo>
                  <a:lnTo>
                    <a:pt x="390" y="273"/>
                  </a:lnTo>
                  <a:lnTo>
                    <a:pt x="396" y="258"/>
                  </a:lnTo>
                  <a:lnTo>
                    <a:pt x="382" y="248"/>
                  </a:lnTo>
                  <a:lnTo>
                    <a:pt x="379" y="229"/>
                  </a:lnTo>
                  <a:lnTo>
                    <a:pt x="365" y="217"/>
                  </a:lnTo>
                  <a:lnTo>
                    <a:pt x="382" y="202"/>
                  </a:lnTo>
                  <a:lnTo>
                    <a:pt x="358" y="196"/>
                  </a:lnTo>
                  <a:lnTo>
                    <a:pt x="341" y="207"/>
                  </a:lnTo>
                  <a:lnTo>
                    <a:pt x="314" y="182"/>
                  </a:lnTo>
                  <a:lnTo>
                    <a:pt x="286" y="173"/>
                  </a:lnTo>
                  <a:lnTo>
                    <a:pt x="246" y="173"/>
                  </a:lnTo>
                  <a:lnTo>
                    <a:pt x="222" y="197"/>
                  </a:lnTo>
                  <a:lnTo>
                    <a:pt x="209" y="191"/>
                  </a:lnTo>
                  <a:lnTo>
                    <a:pt x="229" y="159"/>
                  </a:lnTo>
                  <a:lnTo>
                    <a:pt x="211" y="166"/>
                  </a:lnTo>
                  <a:lnTo>
                    <a:pt x="170" y="197"/>
                  </a:lnTo>
                  <a:lnTo>
                    <a:pt x="126" y="227"/>
                  </a:lnTo>
                  <a:lnTo>
                    <a:pt x="91" y="234"/>
                  </a:lnTo>
                  <a:lnTo>
                    <a:pt x="24" y="265"/>
                  </a:lnTo>
                  <a:lnTo>
                    <a:pt x="0" y="264"/>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8" name="Freeform 62">
              <a:extLst>
                <a:ext uri="{FF2B5EF4-FFF2-40B4-BE49-F238E27FC236}">
                  <a16:creationId xmlns:a16="http://schemas.microsoft.com/office/drawing/2014/main" id="{659F0C7C-AF80-B6FD-3897-F46D7DD42ACC}"/>
                </a:ext>
              </a:extLst>
            </p:cNvPr>
            <p:cNvSpPr>
              <a:spLocks/>
            </p:cNvSpPr>
            <p:nvPr/>
          </p:nvSpPr>
          <p:spPr bwMode="auto">
            <a:xfrm>
              <a:off x="4499" y="1543"/>
              <a:ext cx="329" cy="150"/>
            </a:xfrm>
            <a:custGeom>
              <a:avLst/>
              <a:gdLst>
                <a:gd name="T0" fmla="*/ 11 w 284"/>
                <a:gd name="T1" fmla="*/ 0 h 132"/>
                <a:gd name="T2" fmla="*/ 0 w 284"/>
                <a:gd name="T3" fmla="*/ 10 h 132"/>
                <a:gd name="T4" fmla="*/ 0 w 284"/>
                <a:gd name="T5" fmla="*/ 23 h 132"/>
                <a:gd name="T6" fmla="*/ 19 w 284"/>
                <a:gd name="T7" fmla="*/ 38 h 132"/>
                <a:gd name="T8" fmla="*/ 29 w 284"/>
                <a:gd name="T9" fmla="*/ 34 h 132"/>
                <a:gd name="T10" fmla="*/ 35 w 284"/>
                <a:gd name="T11" fmla="*/ 39 h 132"/>
                <a:gd name="T12" fmla="*/ 49 w 284"/>
                <a:gd name="T13" fmla="*/ 40 h 132"/>
                <a:gd name="T14" fmla="*/ 56 w 284"/>
                <a:gd name="T15" fmla="*/ 32 h 132"/>
                <a:gd name="T16" fmla="*/ 86 w 284"/>
                <a:gd name="T17" fmla="*/ 34 h 132"/>
                <a:gd name="T18" fmla="*/ 88 w 284"/>
                <a:gd name="T19" fmla="*/ 41 h 132"/>
                <a:gd name="T20" fmla="*/ 99 w 284"/>
                <a:gd name="T21" fmla="*/ 45 h 132"/>
                <a:gd name="T22" fmla="*/ 122 w 284"/>
                <a:gd name="T23" fmla="*/ 44 h 132"/>
                <a:gd name="T24" fmla="*/ 128 w 284"/>
                <a:gd name="T25" fmla="*/ 51 h 132"/>
                <a:gd name="T26" fmla="*/ 141 w 284"/>
                <a:gd name="T27" fmla="*/ 54 h 132"/>
                <a:gd name="T28" fmla="*/ 151 w 284"/>
                <a:gd name="T29" fmla="*/ 64 h 132"/>
                <a:gd name="T30" fmla="*/ 151 w 284"/>
                <a:gd name="T31" fmla="*/ 77 h 132"/>
                <a:gd name="T32" fmla="*/ 143 w 284"/>
                <a:gd name="T33" fmla="*/ 81 h 132"/>
                <a:gd name="T34" fmla="*/ 148 w 284"/>
                <a:gd name="T35" fmla="*/ 87 h 132"/>
                <a:gd name="T36" fmla="*/ 135 w 284"/>
                <a:gd name="T37" fmla="*/ 97 h 132"/>
                <a:gd name="T38" fmla="*/ 135 w 284"/>
                <a:gd name="T39" fmla="*/ 106 h 132"/>
                <a:gd name="T40" fmla="*/ 153 w 284"/>
                <a:gd name="T41" fmla="*/ 109 h 132"/>
                <a:gd name="T42" fmla="*/ 162 w 284"/>
                <a:gd name="T43" fmla="*/ 106 h 132"/>
                <a:gd name="T44" fmla="*/ 166 w 284"/>
                <a:gd name="T45" fmla="*/ 100 h 132"/>
                <a:gd name="T46" fmla="*/ 173 w 284"/>
                <a:gd name="T47" fmla="*/ 106 h 132"/>
                <a:gd name="T48" fmla="*/ 184 w 284"/>
                <a:gd name="T49" fmla="*/ 103 h 132"/>
                <a:gd name="T50" fmla="*/ 204 w 284"/>
                <a:gd name="T51" fmla="*/ 109 h 132"/>
                <a:gd name="T52" fmla="*/ 218 w 284"/>
                <a:gd name="T53" fmla="*/ 122 h 132"/>
                <a:gd name="T54" fmla="*/ 222 w 284"/>
                <a:gd name="T55" fmla="*/ 122 h 132"/>
                <a:gd name="T56" fmla="*/ 224 w 284"/>
                <a:gd name="T57" fmla="*/ 128 h 132"/>
                <a:gd name="T58" fmla="*/ 239 w 284"/>
                <a:gd name="T59" fmla="*/ 131 h 132"/>
                <a:gd name="T60" fmla="*/ 253 w 284"/>
                <a:gd name="T61" fmla="*/ 131 h 132"/>
                <a:gd name="T62" fmla="*/ 243 w 284"/>
                <a:gd name="T63" fmla="*/ 124 h 132"/>
                <a:gd name="T64" fmla="*/ 248 w 284"/>
                <a:gd name="T65" fmla="*/ 119 h 132"/>
                <a:gd name="T66" fmla="*/ 262 w 284"/>
                <a:gd name="T67" fmla="*/ 124 h 132"/>
                <a:gd name="T68" fmla="*/ 272 w 284"/>
                <a:gd name="T69" fmla="*/ 126 h 132"/>
                <a:gd name="T70" fmla="*/ 275 w 284"/>
                <a:gd name="T71" fmla="*/ 118 h 132"/>
                <a:gd name="T72" fmla="*/ 263 w 284"/>
                <a:gd name="T73" fmla="*/ 106 h 132"/>
                <a:gd name="T74" fmla="*/ 251 w 284"/>
                <a:gd name="T75" fmla="*/ 106 h 132"/>
                <a:gd name="T76" fmla="*/ 239 w 284"/>
                <a:gd name="T77" fmla="*/ 99 h 132"/>
                <a:gd name="T78" fmla="*/ 251 w 284"/>
                <a:gd name="T79" fmla="*/ 99 h 132"/>
                <a:gd name="T80" fmla="*/ 263 w 284"/>
                <a:gd name="T81" fmla="*/ 105 h 132"/>
                <a:gd name="T82" fmla="*/ 283 w 284"/>
                <a:gd name="T83" fmla="*/ 105 h 132"/>
                <a:gd name="T84" fmla="*/ 277 w 284"/>
                <a:gd name="T85" fmla="*/ 95 h 132"/>
                <a:gd name="T86" fmla="*/ 262 w 284"/>
                <a:gd name="T87" fmla="*/ 83 h 132"/>
                <a:gd name="T88" fmla="*/ 248 w 284"/>
                <a:gd name="T89" fmla="*/ 81 h 132"/>
                <a:gd name="T90" fmla="*/ 230 w 284"/>
                <a:gd name="T91" fmla="*/ 70 h 132"/>
                <a:gd name="T92" fmla="*/ 210 w 284"/>
                <a:gd name="T93" fmla="*/ 65 h 132"/>
                <a:gd name="T94" fmla="*/ 191 w 284"/>
                <a:gd name="T95" fmla="*/ 61 h 132"/>
                <a:gd name="T96" fmla="*/ 176 w 284"/>
                <a:gd name="T97" fmla="*/ 45 h 132"/>
                <a:gd name="T98" fmla="*/ 166 w 284"/>
                <a:gd name="T99" fmla="*/ 25 h 132"/>
                <a:gd name="T100" fmla="*/ 153 w 284"/>
                <a:gd name="T101" fmla="*/ 25 h 132"/>
                <a:gd name="T102" fmla="*/ 149 w 284"/>
                <a:gd name="T103" fmla="*/ 20 h 132"/>
                <a:gd name="T104" fmla="*/ 141 w 284"/>
                <a:gd name="T105" fmla="*/ 22 h 132"/>
                <a:gd name="T106" fmla="*/ 127 w 284"/>
                <a:gd name="T107" fmla="*/ 13 h 132"/>
                <a:gd name="T108" fmla="*/ 103 w 284"/>
                <a:gd name="T109" fmla="*/ 9 h 132"/>
                <a:gd name="T110" fmla="*/ 94 w 284"/>
                <a:gd name="T111" fmla="*/ 15 h 132"/>
                <a:gd name="T112" fmla="*/ 73 w 284"/>
                <a:gd name="T113" fmla="*/ 9 h 132"/>
                <a:gd name="T114" fmla="*/ 59 w 284"/>
                <a:gd name="T115" fmla="*/ 9 h 132"/>
                <a:gd name="T116" fmla="*/ 53 w 284"/>
                <a:gd name="T117" fmla="*/ 3 h 132"/>
                <a:gd name="T118" fmla="*/ 46 w 284"/>
                <a:gd name="T119" fmla="*/ 0 h 132"/>
                <a:gd name="T120" fmla="*/ 35 w 284"/>
                <a:gd name="T121" fmla="*/ 3 h 132"/>
                <a:gd name="T122" fmla="*/ 11 w 284"/>
                <a:gd name="T1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4" h="132">
                  <a:moveTo>
                    <a:pt x="11" y="0"/>
                  </a:moveTo>
                  <a:lnTo>
                    <a:pt x="0" y="10"/>
                  </a:lnTo>
                  <a:lnTo>
                    <a:pt x="0" y="23"/>
                  </a:lnTo>
                  <a:lnTo>
                    <a:pt x="19" y="38"/>
                  </a:lnTo>
                  <a:lnTo>
                    <a:pt x="29" y="34"/>
                  </a:lnTo>
                  <a:lnTo>
                    <a:pt x="35" y="39"/>
                  </a:lnTo>
                  <a:lnTo>
                    <a:pt x="49" y="40"/>
                  </a:lnTo>
                  <a:lnTo>
                    <a:pt x="56" y="32"/>
                  </a:lnTo>
                  <a:lnTo>
                    <a:pt x="86" y="34"/>
                  </a:lnTo>
                  <a:lnTo>
                    <a:pt x="88" y="41"/>
                  </a:lnTo>
                  <a:lnTo>
                    <a:pt x="99" y="45"/>
                  </a:lnTo>
                  <a:lnTo>
                    <a:pt x="122" y="44"/>
                  </a:lnTo>
                  <a:lnTo>
                    <a:pt x="128" y="51"/>
                  </a:lnTo>
                  <a:lnTo>
                    <a:pt x="141" y="54"/>
                  </a:lnTo>
                  <a:lnTo>
                    <a:pt x="151" y="64"/>
                  </a:lnTo>
                  <a:lnTo>
                    <a:pt x="151" y="77"/>
                  </a:lnTo>
                  <a:lnTo>
                    <a:pt x="143" y="81"/>
                  </a:lnTo>
                  <a:lnTo>
                    <a:pt x="148" y="87"/>
                  </a:lnTo>
                  <a:lnTo>
                    <a:pt x="135" y="97"/>
                  </a:lnTo>
                  <a:lnTo>
                    <a:pt x="135" y="106"/>
                  </a:lnTo>
                  <a:lnTo>
                    <a:pt x="153" y="109"/>
                  </a:lnTo>
                  <a:lnTo>
                    <a:pt x="162" y="106"/>
                  </a:lnTo>
                  <a:lnTo>
                    <a:pt x="166" y="100"/>
                  </a:lnTo>
                  <a:lnTo>
                    <a:pt x="173" y="106"/>
                  </a:lnTo>
                  <a:lnTo>
                    <a:pt x="184" y="103"/>
                  </a:lnTo>
                  <a:lnTo>
                    <a:pt x="204" y="109"/>
                  </a:lnTo>
                  <a:lnTo>
                    <a:pt x="218" y="122"/>
                  </a:lnTo>
                  <a:lnTo>
                    <a:pt x="222" y="122"/>
                  </a:lnTo>
                  <a:lnTo>
                    <a:pt x="224" y="128"/>
                  </a:lnTo>
                  <a:lnTo>
                    <a:pt x="239" y="131"/>
                  </a:lnTo>
                  <a:lnTo>
                    <a:pt x="253" y="131"/>
                  </a:lnTo>
                  <a:lnTo>
                    <a:pt x="243" y="124"/>
                  </a:lnTo>
                  <a:lnTo>
                    <a:pt x="248" y="119"/>
                  </a:lnTo>
                  <a:lnTo>
                    <a:pt x="262" y="124"/>
                  </a:lnTo>
                  <a:lnTo>
                    <a:pt x="272" y="126"/>
                  </a:lnTo>
                  <a:lnTo>
                    <a:pt x="275" y="118"/>
                  </a:lnTo>
                  <a:lnTo>
                    <a:pt x="263" y="106"/>
                  </a:lnTo>
                  <a:lnTo>
                    <a:pt x="251" y="106"/>
                  </a:lnTo>
                  <a:lnTo>
                    <a:pt x="239" y="99"/>
                  </a:lnTo>
                  <a:lnTo>
                    <a:pt x="251" y="99"/>
                  </a:lnTo>
                  <a:lnTo>
                    <a:pt x="263" y="105"/>
                  </a:lnTo>
                  <a:lnTo>
                    <a:pt x="283" y="105"/>
                  </a:lnTo>
                  <a:lnTo>
                    <a:pt x="277" y="95"/>
                  </a:lnTo>
                  <a:lnTo>
                    <a:pt x="262" y="83"/>
                  </a:lnTo>
                  <a:lnTo>
                    <a:pt x="248" y="81"/>
                  </a:lnTo>
                  <a:lnTo>
                    <a:pt x="230" y="70"/>
                  </a:lnTo>
                  <a:lnTo>
                    <a:pt x="210" y="65"/>
                  </a:lnTo>
                  <a:lnTo>
                    <a:pt x="191" y="61"/>
                  </a:lnTo>
                  <a:lnTo>
                    <a:pt x="176" y="45"/>
                  </a:lnTo>
                  <a:lnTo>
                    <a:pt x="166" y="25"/>
                  </a:lnTo>
                  <a:lnTo>
                    <a:pt x="153" y="25"/>
                  </a:lnTo>
                  <a:lnTo>
                    <a:pt x="149" y="20"/>
                  </a:lnTo>
                  <a:lnTo>
                    <a:pt x="141" y="22"/>
                  </a:lnTo>
                  <a:lnTo>
                    <a:pt x="127" y="13"/>
                  </a:lnTo>
                  <a:lnTo>
                    <a:pt x="103" y="9"/>
                  </a:lnTo>
                  <a:lnTo>
                    <a:pt x="94" y="15"/>
                  </a:lnTo>
                  <a:lnTo>
                    <a:pt x="73" y="9"/>
                  </a:lnTo>
                  <a:lnTo>
                    <a:pt x="59" y="9"/>
                  </a:lnTo>
                  <a:lnTo>
                    <a:pt x="53" y="3"/>
                  </a:lnTo>
                  <a:lnTo>
                    <a:pt x="46" y="0"/>
                  </a:lnTo>
                  <a:lnTo>
                    <a:pt x="35" y="3"/>
                  </a:lnTo>
                  <a:lnTo>
                    <a:pt x="11"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9" name="Freeform 63">
              <a:extLst>
                <a:ext uri="{FF2B5EF4-FFF2-40B4-BE49-F238E27FC236}">
                  <a16:creationId xmlns:a16="http://schemas.microsoft.com/office/drawing/2014/main" id="{656633D5-F3A2-C73B-8D23-4AD7468AE2D1}"/>
                </a:ext>
              </a:extLst>
            </p:cNvPr>
            <p:cNvSpPr>
              <a:spLocks/>
            </p:cNvSpPr>
            <p:nvPr/>
          </p:nvSpPr>
          <p:spPr bwMode="auto">
            <a:xfrm>
              <a:off x="4692" y="2423"/>
              <a:ext cx="226" cy="63"/>
            </a:xfrm>
            <a:custGeom>
              <a:avLst/>
              <a:gdLst>
                <a:gd name="T0" fmla="*/ 0 w 195"/>
                <a:gd name="T1" fmla="*/ 26 h 55"/>
                <a:gd name="T2" fmla="*/ 14 w 195"/>
                <a:gd name="T3" fmla="*/ 10 h 55"/>
                <a:gd name="T4" fmla="*/ 25 w 195"/>
                <a:gd name="T5" fmla="*/ 10 h 55"/>
                <a:gd name="T6" fmla="*/ 36 w 195"/>
                <a:gd name="T7" fmla="*/ 3 h 55"/>
                <a:gd name="T8" fmla="*/ 53 w 195"/>
                <a:gd name="T9" fmla="*/ 3 h 55"/>
                <a:gd name="T10" fmla="*/ 56 w 195"/>
                <a:gd name="T11" fmla="*/ 1 h 55"/>
                <a:gd name="T12" fmla="*/ 61 w 195"/>
                <a:gd name="T13" fmla="*/ 0 h 55"/>
                <a:gd name="T14" fmla="*/ 81 w 195"/>
                <a:gd name="T15" fmla="*/ 9 h 55"/>
                <a:gd name="T16" fmla="*/ 86 w 195"/>
                <a:gd name="T17" fmla="*/ 16 h 55"/>
                <a:gd name="T18" fmla="*/ 90 w 195"/>
                <a:gd name="T19" fmla="*/ 12 h 55"/>
                <a:gd name="T20" fmla="*/ 107 w 195"/>
                <a:gd name="T21" fmla="*/ 19 h 55"/>
                <a:gd name="T22" fmla="*/ 115 w 195"/>
                <a:gd name="T23" fmla="*/ 19 h 55"/>
                <a:gd name="T24" fmla="*/ 126 w 195"/>
                <a:gd name="T25" fmla="*/ 24 h 55"/>
                <a:gd name="T26" fmla="*/ 136 w 195"/>
                <a:gd name="T27" fmla="*/ 26 h 55"/>
                <a:gd name="T28" fmla="*/ 136 w 195"/>
                <a:gd name="T29" fmla="*/ 36 h 55"/>
                <a:gd name="T30" fmla="*/ 161 w 195"/>
                <a:gd name="T31" fmla="*/ 36 h 55"/>
                <a:gd name="T32" fmla="*/ 169 w 195"/>
                <a:gd name="T33" fmla="*/ 43 h 55"/>
                <a:gd name="T34" fmla="*/ 182 w 195"/>
                <a:gd name="T35" fmla="*/ 43 h 55"/>
                <a:gd name="T36" fmla="*/ 194 w 195"/>
                <a:gd name="T37" fmla="*/ 51 h 55"/>
                <a:gd name="T38" fmla="*/ 187 w 195"/>
                <a:gd name="T39" fmla="*/ 54 h 55"/>
                <a:gd name="T40" fmla="*/ 182 w 195"/>
                <a:gd name="T41" fmla="*/ 50 h 55"/>
                <a:gd name="T42" fmla="*/ 181 w 195"/>
                <a:gd name="T43" fmla="*/ 48 h 55"/>
                <a:gd name="T44" fmla="*/ 169 w 195"/>
                <a:gd name="T45" fmla="*/ 50 h 55"/>
                <a:gd name="T46" fmla="*/ 163 w 195"/>
                <a:gd name="T47" fmla="*/ 51 h 55"/>
                <a:gd name="T48" fmla="*/ 155 w 195"/>
                <a:gd name="T49" fmla="*/ 54 h 55"/>
                <a:gd name="T50" fmla="*/ 134 w 195"/>
                <a:gd name="T51" fmla="*/ 54 h 55"/>
                <a:gd name="T52" fmla="*/ 126 w 195"/>
                <a:gd name="T53" fmla="*/ 54 h 55"/>
                <a:gd name="T54" fmla="*/ 126 w 195"/>
                <a:gd name="T55" fmla="*/ 48 h 55"/>
                <a:gd name="T56" fmla="*/ 107 w 195"/>
                <a:gd name="T57" fmla="*/ 37 h 55"/>
                <a:gd name="T58" fmla="*/ 107 w 195"/>
                <a:gd name="T59" fmla="*/ 27 h 55"/>
                <a:gd name="T60" fmla="*/ 86 w 195"/>
                <a:gd name="T61" fmla="*/ 27 h 55"/>
                <a:gd name="T62" fmla="*/ 80 w 195"/>
                <a:gd name="T63" fmla="*/ 24 h 55"/>
                <a:gd name="T64" fmla="*/ 75 w 195"/>
                <a:gd name="T65" fmla="*/ 27 h 55"/>
                <a:gd name="T66" fmla="*/ 67 w 195"/>
                <a:gd name="T67" fmla="*/ 23 h 55"/>
                <a:gd name="T68" fmla="*/ 61 w 195"/>
                <a:gd name="T69" fmla="*/ 23 h 55"/>
                <a:gd name="T70" fmla="*/ 61 w 195"/>
                <a:gd name="T71" fmla="*/ 15 h 55"/>
                <a:gd name="T72" fmla="*/ 56 w 195"/>
                <a:gd name="T73" fmla="*/ 10 h 55"/>
                <a:gd name="T74" fmla="*/ 38 w 195"/>
                <a:gd name="T75" fmla="*/ 12 h 55"/>
                <a:gd name="T76" fmla="*/ 27 w 195"/>
                <a:gd name="T77" fmla="*/ 23 h 55"/>
                <a:gd name="T78" fmla="*/ 13 w 195"/>
                <a:gd name="T79" fmla="*/ 24 h 55"/>
                <a:gd name="T80" fmla="*/ 0 w 195"/>
                <a:gd name="T81"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5" h="55">
                  <a:moveTo>
                    <a:pt x="0" y="26"/>
                  </a:moveTo>
                  <a:lnTo>
                    <a:pt x="14" y="10"/>
                  </a:lnTo>
                  <a:lnTo>
                    <a:pt x="25" y="10"/>
                  </a:lnTo>
                  <a:lnTo>
                    <a:pt x="36" y="3"/>
                  </a:lnTo>
                  <a:lnTo>
                    <a:pt x="53" y="3"/>
                  </a:lnTo>
                  <a:lnTo>
                    <a:pt x="56" y="1"/>
                  </a:lnTo>
                  <a:lnTo>
                    <a:pt x="61" y="0"/>
                  </a:lnTo>
                  <a:lnTo>
                    <a:pt x="81" y="9"/>
                  </a:lnTo>
                  <a:lnTo>
                    <a:pt x="86" y="16"/>
                  </a:lnTo>
                  <a:lnTo>
                    <a:pt x="90" y="12"/>
                  </a:lnTo>
                  <a:lnTo>
                    <a:pt x="107" y="19"/>
                  </a:lnTo>
                  <a:lnTo>
                    <a:pt x="115" y="19"/>
                  </a:lnTo>
                  <a:lnTo>
                    <a:pt x="126" y="24"/>
                  </a:lnTo>
                  <a:lnTo>
                    <a:pt x="136" y="26"/>
                  </a:lnTo>
                  <a:lnTo>
                    <a:pt x="136" y="36"/>
                  </a:lnTo>
                  <a:lnTo>
                    <a:pt x="161" y="36"/>
                  </a:lnTo>
                  <a:lnTo>
                    <a:pt x="169" y="43"/>
                  </a:lnTo>
                  <a:lnTo>
                    <a:pt x="182" y="43"/>
                  </a:lnTo>
                  <a:lnTo>
                    <a:pt x="194" y="51"/>
                  </a:lnTo>
                  <a:lnTo>
                    <a:pt x="187" y="54"/>
                  </a:lnTo>
                  <a:lnTo>
                    <a:pt x="182" y="50"/>
                  </a:lnTo>
                  <a:lnTo>
                    <a:pt x="181" y="48"/>
                  </a:lnTo>
                  <a:lnTo>
                    <a:pt x="169" y="50"/>
                  </a:lnTo>
                  <a:lnTo>
                    <a:pt x="163" y="51"/>
                  </a:lnTo>
                  <a:lnTo>
                    <a:pt x="155" y="54"/>
                  </a:lnTo>
                  <a:lnTo>
                    <a:pt x="134" y="54"/>
                  </a:lnTo>
                  <a:lnTo>
                    <a:pt x="126" y="54"/>
                  </a:lnTo>
                  <a:lnTo>
                    <a:pt x="126" y="48"/>
                  </a:lnTo>
                  <a:lnTo>
                    <a:pt x="107" y="37"/>
                  </a:lnTo>
                  <a:lnTo>
                    <a:pt x="107" y="27"/>
                  </a:lnTo>
                  <a:lnTo>
                    <a:pt x="86" y="27"/>
                  </a:lnTo>
                  <a:lnTo>
                    <a:pt x="80" y="24"/>
                  </a:lnTo>
                  <a:lnTo>
                    <a:pt x="75" y="27"/>
                  </a:lnTo>
                  <a:lnTo>
                    <a:pt x="67" y="23"/>
                  </a:lnTo>
                  <a:lnTo>
                    <a:pt x="61" y="23"/>
                  </a:lnTo>
                  <a:lnTo>
                    <a:pt x="61" y="15"/>
                  </a:lnTo>
                  <a:lnTo>
                    <a:pt x="56" y="10"/>
                  </a:lnTo>
                  <a:lnTo>
                    <a:pt x="38" y="12"/>
                  </a:lnTo>
                  <a:lnTo>
                    <a:pt x="27" y="23"/>
                  </a:lnTo>
                  <a:lnTo>
                    <a:pt x="13" y="24"/>
                  </a:lnTo>
                  <a:lnTo>
                    <a:pt x="0" y="26"/>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0" name="Freeform 64">
              <a:extLst>
                <a:ext uri="{FF2B5EF4-FFF2-40B4-BE49-F238E27FC236}">
                  <a16:creationId xmlns:a16="http://schemas.microsoft.com/office/drawing/2014/main" id="{E4AD7597-7BF5-5E89-4983-0108B8E57CFF}"/>
                </a:ext>
              </a:extLst>
            </p:cNvPr>
            <p:cNvSpPr>
              <a:spLocks/>
            </p:cNvSpPr>
            <p:nvPr/>
          </p:nvSpPr>
          <p:spPr bwMode="auto">
            <a:xfrm>
              <a:off x="4899" y="2475"/>
              <a:ext cx="140" cy="53"/>
            </a:xfrm>
            <a:custGeom>
              <a:avLst/>
              <a:gdLst>
                <a:gd name="T0" fmla="*/ 0 w 121"/>
                <a:gd name="T1" fmla="*/ 35 h 47"/>
                <a:gd name="T2" fmla="*/ 8 w 121"/>
                <a:gd name="T3" fmla="*/ 37 h 47"/>
                <a:gd name="T4" fmla="*/ 36 w 121"/>
                <a:gd name="T5" fmla="*/ 35 h 47"/>
                <a:gd name="T6" fmla="*/ 49 w 121"/>
                <a:gd name="T7" fmla="*/ 43 h 47"/>
                <a:gd name="T8" fmla="*/ 62 w 121"/>
                <a:gd name="T9" fmla="*/ 46 h 47"/>
                <a:gd name="T10" fmla="*/ 70 w 121"/>
                <a:gd name="T11" fmla="*/ 35 h 47"/>
                <a:gd name="T12" fmla="*/ 66 w 121"/>
                <a:gd name="T13" fmla="*/ 31 h 47"/>
                <a:gd name="T14" fmla="*/ 75 w 121"/>
                <a:gd name="T15" fmla="*/ 26 h 47"/>
                <a:gd name="T16" fmla="*/ 88 w 121"/>
                <a:gd name="T17" fmla="*/ 35 h 47"/>
                <a:gd name="T18" fmla="*/ 101 w 121"/>
                <a:gd name="T19" fmla="*/ 35 h 47"/>
                <a:gd name="T20" fmla="*/ 101 w 121"/>
                <a:gd name="T21" fmla="*/ 29 h 47"/>
                <a:gd name="T22" fmla="*/ 109 w 121"/>
                <a:gd name="T23" fmla="*/ 29 h 47"/>
                <a:gd name="T24" fmla="*/ 120 w 121"/>
                <a:gd name="T25" fmla="*/ 22 h 47"/>
                <a:gd name="T26" fmla="*/ 112 w 121"/>
                <a:gd name="T27" fmla="*/ 20 h 47"/>
                <a:gd name="T28" fmla="*/ 112 w 121"/>
                <a:gd name="T29" fmla="*/ 11 h 47"/>
                <a:gd name="T30" fmla="*/ 112 w 121"/>
                <a:gd name="T31" fmla="*/ 8 h 47"/>
                <a:gd name="T32" fmla="*/ 96 w 121"/>
                <a:gd name="T33" fmla="*/ 5 h 47"/>
                <a:gd name="T34" fmla="*/ 82 w 121"/>
                <a:gd name="T35" fmla="*/ 8 h 47"/>
                <a:gd name="T36" fmla="*/ 70 w 121"/>
                <a:gd name="T37" fmla="*/ 8 h 47"/>
                <a:gd name="T38" fmla="*/ 54 w 121"/>
                <a:gd name="T39" fmla="*/ 5 h 47"/>
                <a:gd name="T40" fmla="*/ 40 w 121"/>
                <a:gd name="T41" fmla="*/ 0 h 47"/>
                <a:gd name="T42" fmla="*/ 36 w 121"/>
                <a:gd name="T43" fmla="*/ 5 h 47"/>
                <a:gd name="T44" fmla="*/ 34 w 121"/>
                <a:gd name="T45" fmla="*/ 14 h 47"/>
                <a:gd name="T46" fmla="*/ 22 w 121"/>
                <a:gd name="T47" fmla="*/ 14 h 47"/>
                <a:gd name="T48" fmla="*/ 17 w 121"/>
                <a:gd name="T49" fmla="*/ 22 h 47"/>
                <a:gd name="T50" fmla="*/ 8 w 121"/>
                <a:gd name="T51" fmla="*/ 26 h 47"/>
                <a:gd name="T52" fmla="*/ 0 w 121"/>
                <a:gd name="T53"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47">
                  <a:moveTo>
                    <a:pt x="0" y="35"/>
                  </a:moveTo>
                  <a:lnTo>
                    <a:pt x="8" y="37"/>
                  </a:lnTo>
                  <a:lnTo>
                    <a:pt x="36" y="35"/>
                  </a:lnTo>
                  <a:lnTo>
                    <a:pt x="49" y="43"/>
                  </a:lnTo>
                  <a:lnTo>
                    <a:pt x="62" y="46"/>
                  </a:lnTo>
                  <a:lnTo>
                    <a:pt x="70" y="35"/>
                  </a:lnTo>
                  <a:lnTo>
                    <a:pt x="66" y="31"/>
                  </a:lnTo>
                  <a:lnTo>
                    <a:pt x="75" y="26"/>
                  </a:lnTo>
                  <a:lnTo>
                    <a:pt x="88" y="35"/>
                  </a:lnTo>
                  <a:lnTo>
                    <a:pt x="101" y="35"/>
                  </a:lnTo>
                  <a:lnTo>
                    <a:pt x="101" y="29"/>
                  </a:lnTo>
                  <a:lnTo>
                    <a:pt x="109" y="29"/>
                  </a:lnTo>
                  <a:lnTo>
                    <a:pt x="120" y="22"/>
                  </a:lnTo>
                  <a:lnTo>
                    <a:pt x="112" y="20"/>
                  </a:lnTo>
                  <a:lnTo>
                    <a:pt x="112" y="11"/>
                  </a:lnTo>
                  <a:lnTo>
                    <a:pt x="112" y="8"/>
                  </a:lnTo>
                  <a:lnTo>
                    <a:pt x="96" y="5"/>
                  </a:lnTo>
                  <a:lnTo>
                    <a:pt x="82" y="8"/>
                  </a:lnTo>
                  <a:lnTo>
                    <a:pt x="70" y="8"/>
                  </a:lnTo>
                  <a:lnTo>
                    <a:pt x="54" y="5"/>
                  </a:lnTo>
                  <a:lnTo>
                    <a:pt x="40" y="0"/>
                  </a:lnTo>
                  <a:lnTo>
                    <a:pt x="36" y="5"/>
                  </a:lnTo>
                  <a:lnTo>
                    <a:pt x="34" y="14"/>
                  </a:lnTo>
                  <a:lnTo>
                    <a:pt x="22" y="14"/>
                  </a:lnTo>
                  <a:lnTo>
                    <a:pt x="17" y="22"/>
                  </a:lnTo>
                  <a:lnTo>
                    <a:pt x="8" y="26"/>
                  </a:lnTo>
                  <a:lnTo>
                    <a:pt x="0" y="35"/>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1" name="Freeform 65">
              <a:extLst>
                <a:ext uri="{FF2B5EF4-FFF2-40B4-BE49-F238E27FC236}">
                  <a16:creationId xmlns:a16="http://schemas.microsoft.com/office/drawing/2014/main" id="{BB95A588-033B-625F-5885-45F04E1CC5C6}"/>
                </a:ext>
              </a:extLst>
            </p:cNvPr>
            <p:cNvSpPr>
              <a:spLocks/>
            </p:cNvSpPr>
            <p:nvPr/>
          </p:nvSpPr>
          <p:spPr bwMode="auto">
            <a:xfrm>
              <a:off x="1134" y="3200"/>
              <a:ext cx="80" cy="238"/>
            </a:xfrm>
            <a:custGeom>
              <a:avLst/>
              <a:gdLst>
                <a:gd name="T0" fmla="*/ 56 w 69"/>
                <a:gd name="T1" fmla="*/ 0 h 209"/>
                <a:gd name="T2" fmla="*/ 38 w 69"/>
                <a:gd name="T3" fmla="*/ 53 h 209"/>
                <a:gd name="T4" fmla="*/ 9 w 69"/>
                <a:gd name="T5" fmla="*/ 72 h 209"/>
                <a:gd name="T6" fmla="*/ 15 w 69"/>
                <a:gd name="T7" fmla="*/ 128 h 209"/>
                <a:gd name="T8" fmla="*/ 0 w 69"/>
                <a:gd name="T9" fmla="*/ 158 h 209"/>
                <a:gd name="T10" fmla="*/ 1 w 69"/>
                <a:gd name="T11" fmla="*/ 208 h 209"/>
                <a:gd name="T12" fmla="*/ 46 w 69"/>
                <a:gd name="T13" fmla="*/ 186 h 209"/>
                <a:gd name="T14" fmla="*/ 68 w 69"/>
                <a:gd name="T15" fmla="*/ 81 h 209"/>
                <a:gd name="T16" fmla="*/ 56 w 69"/>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09">
                  <a:moveTo>
                    <a:pt x="56" y="0"/>
                  </a:moveTo>
                  <a:lnTo>
                    <a:pt x="38" y="53"/>
                  </a:lnTo>
                  <a:lnTo>
                    <a:pt x="9" y="72"/>
                  </a:lnTo>
                  <a:lnTo>
                    <a:pt x="15" y="128"/>
                  </a:lnTo>
                  <a:lnTo>
                    <a:pt x="0" y="158"/>
                  </a:lnTo>
                  <a:lnTo>
                    <a:pt x="1" y="208"/>
                  </a:lnTo>
                  <a:lnTo>
                    <a:pt x="46" y="186"/>
                  </a:lnTo>
                  <a:lnTo>
                    <a:pt x="68" y="81"/>
                  </a:lnTo>
                  <a:lnTo>
                    <a:pt x="5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2" name="Freeform 66">
              <a:extLst>
                <a:ext uri="{FF2B5EF4-FFF2-40B4-BE49-F238E27FC236}">
                  <a16:creationId xmlns:a16="http://schemas.microsoft.com/office/drawing/2014/main" id="{3667A87C-1E8C-CC93-F5DF-7BFE2E994591}"/>
                </a:ext>
              </a:extLst>
            </p:cNvPr>
            <p:cNvSpPr>
              <a:spLocks/>
            </p:cNvSpPr>
            <p:nvPr/>
          </p:nvSpPr>
          <p:spPr bwMode="auto">
            <a:xfrm>
              <a:off x="4772" y="2665"/>
              <a:ext cx="768" cy="1108"/>
            </a:xfrm>
            <a:custGeom>
              <a:avLst/>
              <a:gdLst>
                <a:gd name="T0" fmla="*/ 127 w 663"/>
                <a:gd name="T1" fmla="*/ 25 h 973"/>
                <a:gd name="T2" fmla="*/ 95 w 663"/>
                <a:gd name="T3" fmla="*/ 13 h 973"/>
                <a:gd name="T4" fmla="*/ 67 w 663"/>
                <a:gd name="T5" fmla="*/ 45 h 973"/>
                <a:gd name="T6" fmla="*/ 47 w 663"/>
                <a:gd name="T7" fmla="*/ 122 h 973"/>
                <a:gd name="T8" fmla="*/ 0 w 663"/>
                <a:gd name="T9" fmla="*/ 198 h 973"/>
                <a:gd name="T10" fmla="*/ 10 w 663"/>
                <a:gd name="T11" fmla="*/ 228 h 973"/>
                <a:gd name="T12" fmla="*/ 16 w 663"/>
                <a:gd name="T13" fmla="*/ 274 h 973"/>
                <a:gd name="T14" fmla="*/ 70 w 663"/>
                <a:gd name="T15" fmla="*/ 349 h 973"/>
                <a:gd name="T16" fmla="*/ 120 w 663"/>
                <a:gd name="T17" fmla="*/ 404 h 973"/>
                <a:gd name="T18" fmla="*/ 176 w 663"/>
                <a:gd name="T19" fmla="*/ 498 h 973"/>
                <a:gd name="T20" fmla="*/ 174 w 663"/>
                <a:gd name="T21" fmla="*/ 567 h 973"/>
                <a:gd name="T22" fmla="*/ 178 w 663"/>
                <a:gd name="T23" fmla="*/ 600 h 973"/>
                <a:gd name="T24" fmla="*/ 165 w 663"/>
                <a:gd name="T25" fmla="*/ 686 h 973"/>
                <a:gd name="T26" fmla="*/ 161 w 663"/>
                <a:gd name="T27" fmla="*/ 733 h 973"/>
                <a:gd name="T28" fmla="*/ 175 w 663"/>
                <a:gd name="T29" fmla="*/ 765 h 973"/>
                <a:gd name="T30" fmla="*/ 179 w 663"/>
                <a:gd name="T31" fmla="*/ 824 h 973"/>
                <a:gd name="T32" fmla="*/ 183 w 663"/>
                <a:gd name="T33" fmla="*/ 850 h 973"/>
                <a:gd name="T34" fmla="*/ 158 w 663"/>
                <a:gd name="T35" fmla="*/ 846 h 973"/>
                <a:gd name="T36" fmla="*/ 172 w 663"/>
                <a:gd name="T37" fmla="*/ 861 h 973"/>
                <a:gd name="T38" fmla="*/ 175 w 663"/>
                <a:gd name="T39" fmla="*/ 881 h 973"/>
                <a:gd name="T40" fmla="*/ 195 w 663"/>
                <a:gd name="T41" fmla="*/ 934 h 973"/>
                <a:gd name="T42" fmla="*/ 211 w 663"/>
                <a:gd name="T43" fmla="*/ 951 h 973"/>
                <a:gd name="T44" fmla="*/ 228 w 663"/>
                <a:gd name="T45" fmla="*/ 972 h 973"/>
                <a:gd name="T46" fmla="*/ 252 w 663"/>
                <a:gd name="T47" fmla="*/ 948 h 973"/>
                <a:gd name="T48" fmla="*/ 256 w 663"/>
                <a:gd name="T49" fmla="*/ 906 h 973"/>
                <a:gd name="T50" fmla="*/ 276 w 663"/>
                <a:gd name="T51" fmla="*/ 875 h 973"/>
                <a:gd name="T52" fmla="*/ 252 w 663"/>
                <a:gd name="T53" fmla="*/ 840 h 973"/>
                <a:gd name="T54" fmla="*/ 279 w 663"/>
                <a:gd name="T55" fmla="*/ 786 h 973"/>
                <a:gd name="T56" fmla="*/ 294 w 663"/>
                <a:gd name="T57" fmla="*/ 777 h 973"/>
                <a:gd name="T58" fmla="*/ 281 w 663"/>
                <a:gd name="T59" fmla="*/ 753 h 973"/>
                <a:gd name="T60" fmla="*/ 310 w 663"/>
                <a:gd name="T61" fmla="*/ 739 h 973"/>
                <a:gd name="T62" fmla="*/ 339 w 663"/>
                <a:gd name="T63" fmla="*/ 718 h 973"/>
                <a:gd name="T64" fmla="*/ 343 w 663"/>
                <a:gd name="T65" fmla="*/ 685 h 973"/>
                <a:gd name="T66" fmla="*/ 354 w 663"/>
                <a:gd name="T67" fmla="*/ 670 h 973"/>
                <a:gd name="T68" fmla="*/ 389 w 663"/>
                <a:gd name="T69" fmla="*/ 655 h 973"/>
                <a:gd name="T70" fmla="*/ 420 w 663"/>
                <a:gd name="T71" fmla="*/ 610 h 973"/>
                <a:gd name="T72" fmla="*/ 440 w 663"/>
                <a:gd name="T73" fmla="*/ 591 h 973"/>
                <a:gd name="T74" fmla="*/ 456 w 663"/>
                <a:gd name="T75" fmla="*/ 539 h 973"/>
                <a:gd name="T76" fmla="*/ 487 w 663"/>
                <a:gd name="T77" fmla="*/ 527 h 973"/>
                <a:gd name="T78" fmla="*/ 525 w 663"/>
                <a:gd name="T79" fmla="*/ 509 h 973"/>
                <a:gd name="T80" fmla="*/ 554 w 663"/>
                <a:gd name="T81" fmla="*/ 496 h 973"/>
                <a:gd name="T82" fmla="*/ 582 w 663"/>
                <a:gd name="T83" fmla="*/ 467 h 973"/>
                <a:gd name="T84" fmla="*/ 589 w 663"/>
                <a:gd name="T85" fmla="*/ 433 h 973"/>
                <a:gd name="T86" fmla="*/ 596 w 663"/>
                <a:gd name="T87" fmla="*/ 406 h 973"/>
                <a:gd name="T88" fmla="*/ 599 w 663"/>
                <a:gd name="T89" fmla="*/ 375 h 973"/>
                <a:gd name="T90" fmla="*/ 620 w 663"/>
                <a:gd name="T91" fmla="*/ 352 h 973"/>
                <a:gd name="T92" fmla="*/ 651 w 663"/>
                <a:gd name="T93" fmla="*/ 319 h 973"/>
                <a:gd name="T94" fmla="*/ 659 w 663"/>
                <a:gd name="T95" fmla="*/ 277 h 973"/>
                <a:gd name="T96" fmla="*/ 625 w 663"/>
                <a:gd name="T97" fmla="*/ 251 h 973"/>
                <a:gd name="T98" fmla="*/ 584 w 663"/>
                <a:gd name="T99" fmla="*/ 220 h 973"/>
                <a:gd name="T100" fmla="*/ 531 w 663"/>
                <a:gd name="T101" fmla="*/ 214 h 973"/>
                <a:gd name="T102" fmla="*/ 521 w 663"/>
                <a:gd name="T103" fmla="*/ 196 h 973"/>
                <a:gd name="T104" fmla="*/ 478 w 663"/>
                <a:gd name="T105" fmla="*/ 186 h 973"/>
                <a:gd name="T106" fmla="*/ 450 w 663"/>
                <a:gd name="T107" fmla="*/ 170 h 973"/>
                <a:gd name="T108" fmla="*/ 454 w 663"/>
                <a:gd name="T109" fmla="*/ 147 h 973"/>
                <a:gd name="T110" fmla="*/ 421 w 663"/>
                <a:gd name="T111" fmla="*/ 102 h 973"/>
                <a:gd name="T112" fmla="*/ 360 w 663"/>
                <a:gd name="T113" fmla="*/ 86 h 973"/>
                <a:gd name="T114" fmla="*/ 322 w 663"/>
                <a:gd name="T115" fmla="*/ 61 h 973"/>
                <a:gd name="T116" fmla="*/ 281 w 663"/>
                <a:gd name="T117" fmla="*/ 31 h 973"/>
                <a:gd name="T118" fmla="*/ 219 w 663"/>
                <a:gd name="T119" fmla="*/ 21 h 973"/>
                <a:gd name="T120" fmla="*/ 158 w 663"/>
                <a:gd name="T121" fmla="*/ 11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3" h="973">
                  <a:moveTo>
                    <a:pt x="141" y="41"/>
                  </a:moveTo>
                  <a:lnTo>
                    <a:pt x="132" y="42"/>
                  </a:lnTo>
                  <a:lnTo>
                    <a:pt x="127" y="38"/>
                  </a:lnTo>
                  <a:lnTo>
                    <a:pt x="127" y="25"/>
                  </a:lnTo>
                  <a:lnTo>
                    <a:pt x="122" y="17"/>
                  </a:lnTo>
                  <a:lnTo>
                    <a:pt x="133" y="5"/>
                  </a:lnTo>
                  <a:lnTo>
                    <a:pt x="127" y="0"/>
                  </a:lnTo>
                  <a:lnTo>
                    <a:pt x="95" y="13"/>
                  </a:lnTo>
                  <a:lnTo>
                    <a:pt x="91" y="21"/>
                  </a:lnTo>
                  <a:lnTo>
                    <a:pt x="84" y="17"/>
                  </a:lnTo>
                  <a:lnTo>
                    <a:pt x="74" y="41"/>
                  </a:lnTo>
                  <a:lnTo>
                    <a:pt x="67" y="45"/>
                  </a:lnTo>
                  <a:lnTo>
                    <a:pt x="57" y="59"/>
                  </a:lnTo>
                  <a:lnTo>
                    <a:pt x="44" y="78"/>
                  </a:lnTo>
                  <a:lnTo>
                    <a:pt x="47" y="79"/>
                  </a:lnTo>
                  <a:lnTo>
                    <a:pt x="47" y="122"/>
                  </a:lnTo>
                  <a:lnTo>
                    <a:pt x="24" y="160"/>
                  </a:lnTo>
                  <a:lnTo>
                    <a:pt x="10" y="163"/>
                  </a:lnTo>
                  <a:lnTo>
                    <a:pt x="11" y="177"/>
                  </a:lnTo>
                  <a:lnTo>
                    <a:pt x="0" y="198"/>
                  </a:lnTo>
                  <a:lnTo>
                    <a:pt x="4" y="213"/>
                  </a:lnTo>
                  <a:lnTo>
                    <a:pt x="14" y="213"/>
                  </a:lnTo>
                  <a:lnTo>
                    <a:pt x="16" y="231"/>
                  </a:lnTo>
                  <a:lnTo>
                    <a:pt x="10" y="228"/>
                  </a:lnTo>
                  <a:lnTo>
                    <a:pt x="4" y="238"/>
                  </a:lnTo>
                  <a:lnTo>
                    <a:pt x="4" y="263"/>
                  </a:lnTo>
                  <a:lnTo>
                    <a:pt x="8" y="269"/>
                  </a:lnTo>
                  <a:lnTo>
                    <a:pt x="16" y="274"/>
                  </a:lnTo>
                  <a:lnTo>
                    <a:pt x="41" y="304"/>
                  </a:lnTo>
                  <a:lnTo>
                    <a:pt x="50" y="325"/>
                  </a:lnTo>
                  <a:lnTo>
                    <a:pt x="62" y="337"/>
                  </a:lnTo>
                  <a:lnTo>
                    <a:pt x="70" y="349"/>
                  </a:lnTo>
                  <a:lnTo>
                    <a:pt x="74" y="364"/>
                  </a:lnTo>
                  <a:lnTo>
                    <a:pt x="83" y="379"/>
                  </a:lnTo>
                  <a:lnTo>
                    <a:pt x="99" y="388"/>
                  </a:lnTo>
                  <a:lnTo>
                    <a:pt x="120" y="404"/>
                  </a:lnTo>
                  <a:lnTo>
                    <a:pt x="149" y="417"/>
                  </a:lnTo>
                  <a:lnTo>
                    <a:pt x="172" y="436"/>
                  </a:lnTo>
                  <a:lnTo>
                    <a:pt x="175" y="450"/>
                  </a:lnTo>
                  <a:lnTo>
                    <a:pt x="176" y="498"/>
                  </a:lnTo>
                  <a:lnTo>
                    <a:pt x="169" y="507"/>
                  </a:lnTo>
                  <a:lnTo>
                    <a:pt x="176" y="512"/>
                  </a:lnTo>
                  <a:lnTo>
                    <a:pt x="176" y="555"/>
                  </a:lnTo>
                  <a:lnTo>
                    <a:pt x="174" y="567"/>
                  </a:lnTo>
                  <a:lnTo>
                    <a:pt x="172" y="572"/>
                  </a:lnTo>
                  <a:lnTo>
                    <a:pt x="172" y="588"/>
                  </a:lnTo>
                  <a:lnTo>
                    <a:pt x="178" y="596"/>
                  </a:lnTo>
                  <a:lnTo>
                    <a:pt x="178" y="600"/>
                  </a:lnTo>
                  <a:lnTo>
                    <a:pt x="172" y="610"/>
                  </a:lnTo>
                  <a:lnTo>
                    <a:pt x="172" y="665"/>
                  </a:lnTo>
                  <a:lnTo>
                    <a:pt x="165" y="670"/>
                  </a:lnTo>
                  <a:lnTo>
                    <a:pt x="165" y="686"/>
                  </a:lnTo>
                  <a:lnTo>
                    <a:pt x="160" y="704"/>
                  </a:lnTo>
                  <a:lnTo>
                    <a:pt x="158" y="719"/>
                  </a:lnTo>
                  <a:lnTo>
                    <a:pt x="161" y="720"/>
                  </a:lnTo>
                  <a:lnTo>
                    <a:pt x="161" y="733"/>
                  </a:lnTo>
                  <a:lnTo>
                    <a:pt x="157" y="740"/>
                  </a:lnTo>
                  <a:lnTo>
                    <a:pt x="157" y="758"/>
                  </a:lnTo>
                  <a:lnTo>
                    <a:pt x="165" y="766"/>
                  </a:lnTo>
                  <a:lnTo>
                    <a:pt x="175" y="765"/>
                  </a:lnTo>
                  <a:lnTo>
                    <a:pt x="175" y="806"/>
                  </a:lnTo>
                  <a:lnTo>
                    <a:pt x="178" y="810"/>
                  </a:lnTo>
                  <a:lnTo>
                    <a:pt x="186" y="820"/>
                  </a:lnTo>
                  <a:lnTo>
                    <a:pt x="179" y="824"/>
                  </a:lnTo>
                  <a:lnTo>
                    <a:pt x="183" y="827"/>
                  </a:lnTo>
                  <a:lnTo>
                    <a:pt x="182" y="834"/>
                  </a:lnTo>
                  <a:lnTo>
                    <a:pt x="178" y="844"/>
                  </a:lnTo>
                  <a:lnTo>
                    <a:pt x="183" y="850"/>
                  </a:lnTo>
                  <a:lnTo>
                    <a:pt x="175" y="851"/>
                  </a:lnTo>
                  <a:lnTo>
                    <a:pt x="167" y="842"/>
                  </a:lnTo>
                  <a:lnTo>
                    <a:pt x="166" y="838"/>
                  </a:lnTo>
                  <a:lnTo>
                    <a:pt x="158" y="846"/>
                  </a:lnTo>
                  <a:lnTo>
                    <a:pt x="153" y="851"/>
                  </a:lnTo>
                  <a:lnTo>
                    <a:pt x="163" y="859"/>
                  </a:lnTo>
                  <a:lnTo>
                    <a:pt x="169" y="861"/>
                  </a:lnTo>
                  <a:lnTo>
                    <a:pt x="172" y="861"/>
                  </a:lnTo>
                  <a:lnTo>
                    <a:pt x="174" y="866"/>
                  </a:lnTo>
                  <a:lnTo>
                    <a:pt x="185" y="877"/>
                  </a:lnTo>
                  <a:lnTo>
                    <a:pt x="178" y="878"/>
                  </a:lnTo>
                  <a:lnTo>
                    <a:pt x="175" y="881"/>
                  </a:lnTo>
                  <a:lnTo>
                    <a:pt x="182" y="894"/>
                  </a:lnTo>
                  <a:lnTo>
                    <a:pt x="183" y="903"/>
                  </a:lnTo>
                  <a:lnTo>
                    <a:pt x="187" y="923"/>
                  </a:lnTo>
                  <a:lnTo>
                    <a:pt x="195" y="934"/>
                  </a:lnTo>
                  <a:lnTo>
                    <a:pt x="195" y="942"/>
                  </a:lnTo>
                  <a:lnTo>
                    <a:pt x="199" y="944"/>
                  </a:lnTo>
                  <a:lnTo>
                    <a:pt x="209" y="945"/>
                  </a:lnTo>
                  <a:lnTo>
                    <a:pt x="211" y="951"/>
                  </a:lnTo>
                  <a:lnTo>
                    <a:pt x="215" y="952"/>
                  </a:lnTo>
                  <a:lnTo>
                    <a:pt x="216" y="955"/>
                  </a:lnTo>
                  <a:lnTo>
                    <a:pt x="212" y="958"/>
                  </a:lnTo>
                  <a:lnTo>
                    <a:pt x="228" y="972"/>
                  </a:lnTo>
                  <a:lnTo>
                    <a:pt x="228" y="965"/>
                  </a:lnTo>
                  <a:lnTo>
                    <a:pt x="233" y="958"/>
                  </a:lnTo>
                  <a:lnTo>
                    <a:pt x="240" y="957"/>
                  </a:lnTo>
                  <a:lnTo>
                    <a:pt x="252" y="948"/>
                  </a:lnTo>
                  <a:lnTo>
                    <a:pt x="242" y="929"/>
                  </a:lnTo>
                  <a:lnTo>
                    <a:pt x="246" y="914"/>
                  </a:lnTo>
                  <a:lnTo>
                    <a:pt x="253" y="911"/>
                  </a:lnTo>
                  <a:lnTo>
                    <a:pt x="256" y="906"/>
                  </a:lnTo>
                  <a:lnTo>
                    <a:pt x="252" y="899"/>
                  </a:lnTo>
                  <a:lnTo>
                    <a:pt x="256" y="891"/>
                  </a:lnTo>
                  <a:lnTo>
                    <a:pt x="266" y="884"/>
                  </a:lnTo>
                  <a:lnTo>
                    <a:pt x="276" y="875"/>
                  </a:lnTo>
                  <a:lnTo>
                    <a:pt x="276" y="861"/>
                  </a:lnTo>
                  <a:lnTo>
                    <a:pt x="270" y="858"/>
                  </a:lnTo>
                  <a:lnTo>
                    <a:pt x="256" y="848"/>
                  </a:lnTo>
                  <a:lnTo>
                    <a:pt x="252" y="840"/>
                  </a:lnTo>
                  <a:lnTo>
                    <a:pt x="256" y="834"/>
                  </a:lnTo>
                  <a:lnTo>
                    <a:pt x="276" y="813"/>
                  </a:lnTo>
                  <a:lnTo>
                    <a:pt x="276" y="796"/>
                  </a:lnTo>
                  <a:lnTo>
                    <a:pt x="279" y="786"/>
                  </a:lnTo>
                  <a:lnTo>
                    <a:pt x="279" y="780"/>
                  </a:lnTo>
                  <a:lnTo>
                    <a:pt x="292" y="788"/>
                  </a:lnTo>
                  <a:lnTo>
                    <a:pt x="298" y="784"/>
                  </a:lnTo>
                  <a:lnTo>
                    <a:pt x="294" y="777"/>
                  </a:lnTo>
                  <a:lnTo>
                    <a:pt x="280" y="777"/>
                  </a:lnTo>
                  <a:lnTo>
                    <a:pt x="277" y="763"/>
                  </a:lnTo>
                  <a:lnTo>
                    <a:pt x="273" y="753"/>
                  </a:lnTo>
                  <a:lnTo>
                    <a:pt x="281" y="753"/>
                  </a:lnTo>
                  <a:lnTo>
                    <a:pt x="291" y="755"/>
                  </a:lnTo>
                  <a:lnTo>
                    <a:pt x="302" y="755"/>
                  </a:lnTo>
                  <a:lnTo>
                    <a:pt x="305" y="754"/>
                  </a:lnTo>
                  <a:lnTo>
                    <a:pt x="310" y="739"/>
                  </a:lnTo>
                  <a:lnTo>
                    <a:pt x="310" y="733"/>
                  </a:lnTo>
                  <a:lnTo>
                    <a:pt x="312" y="725"/>
                  </a:lnTo>
                  <a:lnTo>
                    <a:pt x="316" y="718"/>
                  </a:lnTo>
                  <a:lnTo>
                    <a:pt x="339" y="718"/>
                  </a:lnTo>
                  <a:lnTo>
                    <a:pt x="339" y="712"/>
                  </a:lnTo>
                  <a:lnTo>
                    <a:pt x="347" y="705"/>
                  </a:lnTo>
                  <a:lnTo>
                    <a:pt x="350" y="695"/>
                  </a:lnTo>
                  <a:lnTo>
                    <a:pt x="343" y="685"/>
                  </a:lnTo>
                  <a:lnTo>
                    <a:pt x="343" y="678"/>
                  </a:lnTo>
                  <a:lnTo>
                    <a:pt x="339" y="665"/>
                  </a:lnTo>
                  <a:lnTo>
                    <a:pt x="348" y="668"/>
                  </a:lnTo>
                  <a:lnTo>
                    <a:pt x="354" y="670"/>
                  </a:lnTo>
                  <a:lnTo>
                    <a:pt x="360" y="668"/>
                  </a:lnTo>
                  <a:lnTo>
                    <a:pt x="377" y="668"/>
                  </a:lnTo>
                  <a:lnTo>
                    <a:pt x="382" y="662"/>
                  </a:lnTo>
                  <a:lnTo>
                    <a:pt x="389" y="655"/>
                  </a:lnTo>
                  <a:lnTo>
                    <a:pt x="392" y="641"/>
                  </a:lnTo>
                  <a:lnTo>
                    <a:pt x="407" y="632"/>
                  </a:lnTo>
                  <a:lnTo>
                    <a:pt x="417" y="623"/>
                  </a:lnTo>
                  <a:lnTo>
                    <a:pt x="420" y="610"/>
                  </a:lnTo>
                  <a:lnTo>
                    <a:pt x="424" y="605"/>
                  </a:lnTo>
                  <a:lnTo>
                    <a:pt x="428" y="603"/>
                  </a:lnTo>
                  <a:lnTo>
                    <a:pt x="433" y="596"/>
                  </a:lnTo>
                  <a:lnTo>
                    <a:pt x="440" y="591"/>
                  </a:lnTo>
                  <a:lnTo>
                    <a:pt x="445" y="585"/>
                  </a:lnTo>
                  <a:lnTo>
                    <a:pt x="454" y="574"/>
                  </a:lnTo>
                  <a:lnTo>
                    <a:pt x="454" y="546"/>
                  </a:lnTo>
                  <a:lnTo>
                    <a:pt x="456" y="539"/>
                  </a:lnTo>
                  <a:lnTo>
                    <a:pt x="463" y="533"/>
                  </a:lnTo>
                  <a:lnTo>
                    <a:pt x="473" y="533"/>
                  </a:lnTo>
                  <a:lnTo>
                    <a:pt x="477" y="527"/>
                  </a:lnTo>
                  <a:lnTo>
                    <a:pt x="487" y="527"/>
                  </a:lnTo>
                  <a:lnTo>
                    <a:pt x="498" y="519"/>
                  </a:lnTo>
                  <a:lnTo>
                    <a:pt x="500" y="516"/>
                  </a:lnTo>
                  <a:lnTo>
                    <a:pt x="514" y="512"/>
                  </a:lnTo>
                  <a:lnTo>
                    <a:pt x="525" y="509"/>
                  </a:lnTo>
                  <a:lnTo>
                    <a:pt x="535" y="516"/>
                  </a:lnTo>
                  <a:lnTo>
                    <a:pt x="545" y="508"/>
                  </a:lnTo>
                  <a:lnTo>
                    <a:pt x="547" y="501"/>
                  </a:lnTo>
                  <a:lnTo>
                    <a:pt x="554" y="496"/>
                  </a:lnTo>
                  <a:lnTo>
                    <a:pt x="564" y="484"/>
                  </a:lnTo>
                  <a:lnTo>
                    <a:pt x="568" y="476"/>
                  </a:lnTo>
                  <a:lnTo>
                    <a:pt x="575" y="471"/>
                  </a:lnTo>
                  <a:lnTo>
                    <a:pt x="582" y="467"/>
                  </a:lnTo>
                  <a:lnTo>
                    <a:pt x="582" y="460"/>
                  </a:lnTo>
                  <a:lnTo>
                    <a:pt x="584" y="444"/>
                  </a:lnTo>
                  <a:lnTo>
                    <a:pt x="589" y="440"/>
                  </a:lnTo>
                  <a:lnTo>
                    <a:pt x="589" y="433"/>
                  </a:lnTo>
                  <a:lnTo>
                    <a:pt x="591" y="428"/>
                  </a:lnTo>
                  <a:lnTo>
                    <a:pt x="593" y="422"/>
                  </a:lnTo>
                  <a:lnTo>
                    <a:pt x="594" y="414"/>
                  </a:lnTo>
                  <a:lnTo>
                    <a:pt x="596" y="406"/>
                  </a:lnTo>
                  <a:lnTo>
                    <a:pt x="597" y="398"/>
                  </a:lnTo>
                  <a:lnTo>
                    <a:pt x="598" y="390"/>
                  </a:lnTo>
                  <a:lnTo>
                    <a:pt x="598" y="382"/>
                  </a:lnTo>
                  <a:lnTo>
                    <a:pt x="599" y="375"/>
                  </a:lnTo>
                  <a:lnTo>
                    <a:pt x="602" y="370"/>
                  </a:lnTo>
                  <a:lnTo>
                    <a:pt x="606" y="370"/>
                  </a:lnTo>
                  <a:lnTo>
                    <a:pt x="608" y="373"/>
                  </a:lnTo>
                  <a:lnTo>
                    <a:pt x="620" y="352"/>
                  </a:lnTo>
                  <a:lnTo>
                    <a:pt x="629" y="344"/>
                  </a:lnTo>
                  <a:lnTo>
                    <a:pt x="639" y="336"/>
                  </a:lnTo>
                  <a:lnTo>
                    <a:pt x="644" y="328"/>
                  </a:lnTo>
                  <a:lnTo>
                    <a:pt x="651" y="319"/>
                  </a:lnTo>
                  <a:lnTo>
                    <a:pt x="662" y="309"/>
                  </a:lnTo>
                  <a:lnTo>
                    <a:pt x="662" y="295"/>
                  </a:lnTo>
                  <a:lnTo>
                    <a:pt x="662" y="288"/>
                  </a:lnTo>
                  <a:lnTo>
                    <a:pt x="659" y="277"/>
                  </a:lnTo>
                  <a:lnTo>
                    <a:pt x="658" y="268"/>
                  </a:lnTo>
                  <a:lnTo>
                    <a:pt x="654" y="265"/>
                  </a:lnTo>
                  <a:lnTo>
                    <a:pt x="636" y="256"/>
                  </a:lnTo>
                  <a:lnTo>
                    <a:pt x="625" y="251"/>
                  </a:lnTo>
                  <a:lnTo>
                    <a:pt x="618" y="244"/>
                  </a:lnTo>
                  <a:lnTo>
                    <a:pt x="606" y="227"/>
                  </a:lnTo>
                  <a:lnTo>
                    <a:pt x="599" y="220"/>
                  </a:lnTo>
                  <a:lnTo>
                    <a:pt x="584" y="220"/>
                  </a:lnTo>
                  <a:lnTo>
                    <a:pt x="563" y="214"/>
                  </a:lnTo>
                  <a:lnTo>
                    <a:pt x="541" y="206"/>
                  </a:lnTo>
                  <a:lnTo>
                    <a:pt x="538" y="211"/>
                  </a:lnTo>
                  <a:lnTo>
                    <a:pt x="531" y="214"/>
                  </a:lnTo>
                  <a:lnTo>
                    <a:pt x="525" y="210"/>
                  </a:lnTo>
                  <a:lnTo>
                    <a:pt x="525" y="203"/>
                  </a:lnTo>
                  <a:lnTo>
                    <a:pt x="529" y="196"/>
                  </a:lnTo>
                  <a:lnTo>
                    <a:pt x="521" y="196"/>
                  </a:lnTo>
                  <a:lnTo>
                    <a:pt x="518" y="189"/>
                  </a:lnTo>
                  <a:lnTo>
                    <a:pt x="508" y="185"/>
                  </a:lnTo>
                  <a:lnTo>
                    <a:pt x="487" y="181"/>
                  </a:lnTo>
                  <a:lnTo>
                    <a:pt x="478" y="186"/>
                  </a:lnTo>
                  <a:lnTo>
                    <a:pt x="473" y="183"/>
                  </a:lnTo>
                  <a:lnTo>
                    <a:pt x="478" y="173"/>
                  </a:lnTo>
                  <a:lnTo>
                    <a:pt x="455" y="170"/>
                  </a:lnTo>
                  <a:lnTo>
                    <a:pt x="450" y="170"/>
                  </a:lnTo>
                  <a:lnTo>
                    <a:pt x="447" y="174"/>
                  </a:lnTo>
                  <a:lnTo>
                    <a:pt x="440" y="170"/>
                  </a:lnTo>
                  <a:lnTo>
                    <a:pt x="423" y="177"/>
                  </a:lnTo>
                  <a:lnTo>
                    <a:pt x="454" y="147"/>
                  </a:lnTo>
                  <a:lnTo>
                    <a:pt x="441" y="133"/>
                  </a:lnTo>
                  <a:lnTo>
                    <a:pt x="437" y="118"/>
                  </a:lnTo>
                  <a:lnTo>
                    <a:pt x="428" y="110"/>
                  </a:lnTo>
                  <a:lnTo>
                    <a:pt x="421" y="102"/>
                  </a:lnTo>
                  <a:lnTo>
                    <a:pt x="406" y="96"/>
                  </a:lnTo>
                  <a:lnTo>
                    <a:pt x="396" y="82"/>
                  </a:lnTo>
                  <a:lnTo>
                    <a:pt x="390" y="86"/>
                  </a:lnTo>
                  <a:lnTo>
                    <a:pt x="360" y="86"/>
                  </a:lnTo>
                  <a:lnTo>
                    <a:pt x="350" y="82"/>
                  </a:lnTo>
                  <a:lnTo>
                    <a:pt x="329" y="69"/>
                  </a:lnTo>
                  <a:lnTo>
                    <a:pt x="326" y="71"/>
                  </a:lnTo>
                  <a:lnTo>
                    <a:pt x="322" y="61"/>
                  </a:lnTo>
                  <a:lnTo>
                    <a:pt x="309" y="49"/>
                  </a:lnTo>
                  <a:lnTo>
                    <a:pt x="290" y="45"/>
                  </a:lnTo>
                  <a:lnTo>
                    <a:pt x="290" y="34"/>
                  </a:lnTo>
                  <a:lnTo>
                    <a:pt x="281" y="31"/>
                  </a:lnTo>
                  <a:lnTo>
                    <a:pt x="273" y="25"/>
                  </a:lnTo>
                  <a:lnTo>
                    <a:pt x="265" y="21"/>
                  </a:lnTo>
                  <a:lnTo>
                    <a:pt x="273" y="14"/>
                  </a:lnTo>
                  <a:lnTo>
                    <a:pt x="219" y="21"/>
                  </a:lnTo>
                  <a:lnTo>
                    <a:pt x="207" y="17"/>
                  </a:lnTo>
                  <a:lnTo>
                    <a:pt x="189" y="17"/>
                  </a:lnTo>
                  <a:lnTo>
                    <a:pt x="178" y="11"/>
                  </a:lnTo>
                  <a:lnTo>
                    <a:pt x="158" y="11"/>
                  </a:lnTo>
                  <a:lnTo>
                    <a:pt x="141" y="17"/>
                  </a:lnTo>
                  <a:lnTo>
                    <a:pt x="141" y="41"/>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3" name="Freeform 67">
              <a:extLst>
                <a:ext uri="{FF2B5EF4-FFF2-40B4-BE49-F238E27FC236}">
                  <a16:creationId xmlns:a16="http://schemas.microsoft.com/office/drawing/2014/main" id="{1FA2133D-F28C-9F1B-C284-605647D2085B}"/>
                </a:ext>
              </a:extLst>
            </p:cNvPr>
            <p:cNvSpPr>
              <a:spLocks/>
            </p:cNvSpPr>
            <p:nvPr/>
          </p:nvSpPr>
          <p:spPr bwMode="auto">
            <a:xfrm>
              <a:off x="120" y="2340"/>
              <a:ext cx="839" cy="900"/>
            </a:xfrm>
            <a:custGeom>
              <a:avLst/>
              <a:gdLst>
                <a:gd name="T0" fmla="*/ 723 w 724"/>
                <a:gd name="T1" fmla="*/ 126 h 790"/>
                <a:gd name="T2" fmla="*/ 684 w 724"/>
                <a:gd name="T3" fmla="*/ 123 h 790"/>
                <a:gd name="T4" fmla="*/ 657 w 724"/>
                <a:gd name="T5" fmla="*/ 138 h 790"/>
                <a:gd name="T6" fmla="*/ 579 w 724"/>
                <a:gd name="T7" fmla="*/ 108 h 790"/>
                <a:gd name="T8" fmla="*/ 540 w 724"/>
                <a:gd name="T9" fmla="*/ 138 h 790"/>
                <a:gd name="T10" fmla="*/ 525 w 724"/>
                <a:gd name="T11" fmla="*/ 156 h 790"/>
                <a:gd name="T12" fmla="*/ 498 w 724"/>
                <a:gd name="T13" fmla="*/ 120 h 790"/>
                <a:gd name="T14" fmla="*/ 468 w 724"/>
                <a:gd name="T15" fmla="*/ 99 h 790"/>
                <a:gd name="T16" fmla="*/ 426 w 724"/>
                <a:gd name="T17" fmla="*/ 93 h 790"/>
                <a:gd name="T18" fmla="*/ 423 w 724"/>
                <a:gd name="T19" fmla="*/ 30 h 790"/>
                <a:gd name="T20" fmla="*/ 375 w 724"/>
                <a:gd name="T21" fmla="*/ 36 h 790"/>
                <a:gd name="T22" fmla="*/ 351 w 724"/>
                <a:gd name="T23" fmla="*/ 39 h 790"/>
                <a:gd name="T24" fmla="*/ 312 w 724"/>
                <a:gd name="T25" fmla="*/ 27 h 790"/>
                <a:gd name="T26" fmla="*/ 246 w 724"/>
                <a:gd name="T27" fmla="*/ 0 h 790"/>
                <a:gd name="T28" fmla="*/ 219 w 724"/>
                <a:gd name="T29" fmla="*/ 30 h 790"/>
                <a:gd name="T30" fmla="*/ 183 w 724"/>
                <a:gd name="T31" fmla="*/ 63 h 790"/>
                <a:gd name="T32" fmla="*/ 141 w 724"/>
                <a:gd name="T33" fmla="*/ 87 h 790"/>
                <a:gd name="T34" fmla="*/ 135 w 724"/>
                <a:gd name="T35" fmla="*/ 117 h 790"/>
                <a:gd name="T36" fmla="*/ 117 w 724"/>
                <a:gd name="T37" fmla="*/ 153 h 790"/>
                <a:gd name="T38" fmla="*/ 57 w 724"/>
                <a:gd name="T39" fmla="*/ 183 h 790"/>
                <a:gd name="T40" fmla="*/ 27 w 724"/>
                <a:gd name="T41" fmla="*/ 261 h 790"/>
                <a:gd name="T42" fmla="*/ 30 w 724"/>
                <a:gd name="T43" fmla="*/ 315 h 790"/>
                <a:gd name="T44" fmla="*/ 0 w 724"/>
                <a:gd name="T45" fmla="*/ 384 h 790"/>
                <a:gd name="T46" fmla="*/ 60 w 724"/>
                <a:gd name="T47" fmla="*/ 447 h 790"/>
                <a:gd name="T48" fmla="*/ 129 w 724"/>
                <a:gd name="T49" fmla="*/ 525 h 790"/>
                <a:gd name="T50" fmla="*/ 156 w 724"/>
                <a:gd name="T51" fmla="*/ 507 h 790"/>
                <a:gd name="T52" fmla="*/ 312 w 724"/>
                <a:gd name="T53" fmla="*/ 513 h 790"/>
                <a:gd name="T54" fmla="*/ 393 w 724"/>
                <a:gd name="T55" fmla="*/ 543 h 790"/>
                <a:gd name="T56" fmla="*/ 381 w 724"/>
                <a:gd name="T57" fmla="*/ 606 h 790"/>
                <a:gd name="T58" fmla="*/ 384 w 724"/>
                <a:gd name="T59" fmla="*/ 627 h 790"/>
                <a:gd name="T60" fmla="*/ 396 w 724"/>
                <a:gd name="T61" fmla="*/ 651 h 790"/>
                <a:gd name="T62" fmla="*/ 426 w 724"/>
                <a:gd name="T63" fmla="*/ 702 h 790"/>
                <a:gd name="T64" fmla="*/ 441 w 724"/>
                <a:gd name="T65" fmla="*/ 735 h 790"/>
                <a:gd name="T66" fmla="*/ 432 w 724"/>
                <a:gd name="T67" fmla="*/ 753 h 790"/>
                <a:gd name="T68" fmla="*/ 459 w 724"/>
                <a:gd name="T69" fmla="*/ 789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4" h="790">
                  <a:moveTo>
                    <a:pt x="723" y="126"/>
                  </a:moveTo>
                  <a:lnTo>
                    <a:pt x="684" y="123"/>
                  </a:lnTo>
                  <a:lnTo>
                    <a:pt x="657" y="138"/>
                  </a:lnTo>
                  <a:lnTo>
                    <a:pt x="579" y="108"/>
                  </a:lnTo>
                  <a:lnTo>
                    <a:pt x="540" y="138"/>
                  </a:lnTo>
                  <a:lnTo>
                    <a:pt x="525" y="156"/>
                  </a:lnTo>
                  <a:lnTo>
                    <a:pt x="498" y="120"/>
                  </a:lnTo>
                  <a:lnTo>
                    <a:pt x="468" y="99"/>
                  </a:lnTo>
                  <a:lnTo>
                    <a:pt x="426" y="93"/>
                  </a:lnTo>
                  <a:lnTo>
                    <a:pt x="423" y="30"/>
                  </a:lnTo>
                  <a:lnTo>
                    <a:pt x="375" y="36"/>
                  </a:lnTo>
                  <a:lnTo>
                    <a:pt x="351" y="39"/>
                  </a:lnTo>
                  <a:lnTo>
                    <a:pt x="312" y="27"/>
                  </a:lnTo>
                  <a:lnTo>
                    <a:pt x="246" y="0"/>
                  </a:lnTo>
                  <a:lnTo>
                    <a:pt x="219" y="30"/>
                  </a:lnTo>
                  <a:lnTo>
                    <a:pt x="183" y="63"/>
                  </a:lnTo>
                  <a:lnTo>
                    <a:pt x="141" y="87"/>
                  </a:lnTo>
                  <a:lnTo>
                    <a:pt x="135" y="117"/>
                  </a:lnTo>
                  <a:lnTo>
                    <a:pt x="117" y="153"/>
                  </a:lnTo>
                  <a:lnTo>
                    <a:pt x="57" y="183"/>
                  </a:lnTo>
                  <a:lnTo>
                    <a:pt x="27" y="261"/>
                  </a:lnTo>
                  <a:lnTo>
                    <a:pt x="30" y="315"/>
                  </a:lnTo>
                  <a:lnTo>
                    <a:pt x="0" y="384"/>
                  </a:lnTo>
                  <a:lnTo>
                    <a:pt x="60" y="447"/>
                  </a:lnTo>
                  <a:lnTo>
                    <a:pt x="129" y="525"/>
                  </a:lnTo>
                  <a:lnTo>
                    <a:pt x="156" y="507"/>
                  </a:lnTo>
                  <a:lnTo>
                    <a:pt x="312" y="513"/>
                  </a:lnTo>
                  <a:lnTo>
                    <a:pt x="393" y="543"/>
                  </a:lnTo>
                  <a:lnTo>
                    <a:pt x="381" y="606"/>
                  </a:lnTo>
                  <a:lnTo>
                    <a:pt x="384" y="627"/>
                  </a:lnTo>
                  <a:lnTo>
                    <a:pt x="396" y="651"/>
                  </a:lnTo>
                  <a:lnTo>
                    <a:pt x="426" y="702"/>
                  </a:lnTo>
                  <a:lnTo>
                    <a:pt x="441" y="735"/>
                  </a:lnTo>
                  <a:lnTo>
                    <a:pt x="432" y="753"/>
                  </a:lnTo>
                  <a:lnTo>
                    <a:pt x="459" y="789"/>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4" name="Freeform 68">
              <a:extLst>
                <a:ext uri="{FF2B5EF4-FFF2-40B4-BE49-F238E27FC236}">
                  <a16:creationId xmlns:a16="http://schemas.microsoft.com/office/drawing/2014/main" id="{5F51979C-2CD8-2272-0762-5D1D8181AA17}"/>
                </a:ext>
              </a:extLst>
            </p:cNvPr>
            <p:cNvSpPr>
              <a:spLocks/>
            </p:cNvSpPr>
            <p:nvPr/>
          </p:nvSpPr>
          <p:spPr bwMode="auto">
            <a:xfrm>
              <a:off x="607" y="2484"/>
              <a:ext cx="692" cy="1142"/>
            </a:xfrm>
            <a:custGeom>
              <a:avLst/>
              <a:gdLst>
                <a:gd name="T0" fmla="*/ 15 w 598"/>
                <a:gd name="T1" fmla="*/ 636 h 1003"/>
                <a:gd name="T2" fmla="*/ 36 w 598"/>
                <a:gd name="T3" fmla="*/ 666 h 1003"/>
                <a:gd name="T4" fmla="*/ 0 w 598"/>
                <a:gd name="T5" fmla="*/ 726 h 1003"/>
                <a:gd name="T6" fmla="*/ 45 w 598"/>
                <a:gd name="T7" fmla="*/ 822 h 1003"/>
                <a:gd name="T8" fmla="*/ 69 w 598"/>
                <a:gd name="T9" fmla="*/ 894 h 1003"/>
                <a:gd name="T10" fmla="*/ 87 w 598"/>
                <a:gd name="T11" fmla="*/ 951 h 1003"/>
                <a:gd name="T12" fmla="*/ 126 w 598"/>
                <a:gd name="T13" fmla="*/ 1002 h 1003"/>
                <a:gd name="T14" fmla="*/ 144 w 598"/>
                <a:gd name="T15" fmla="*/ 1002 h 1003"/>
                <a:gd name="T16" fmla="*/ 153 w 598"/>
                <a:gd name="T17" fmla="*/ 999 h 1003"/>
                <a:gd name="T18" fmla="*/ 183 w 598"/>
                <a:gd name="T19" fmla="*/ 993 h 1003"/>
                <a:gd name="T20" fmla="*/ 264 w 598"/>
                <a:gd name="T21" fmla="*/ 951 h 1003"/>
                <a:gd name="T22" fmla="*/ 297 w 598"/>
                <a:gd name="T23" fmla="*/ 906 h 1003"/>
                <a:gd name="T24" fmla="*/ 315 w 598"/>
                <a:gd name="T25" fmla="*/ 867 h 1003"/>
                <a:gd name="T26" fmla="*/ 339 w 598"/>
                <a:gd name="T27" fmla="*/ 843 h 1003"/>
                <a:gd name="T28" fmla="*/ 357 w 598"/>
                <a:gd name="T29" fmla="*/ 834 h 1003"/>
                <a:gd name="T30" fmla="*/ 366 w 598"/>
                <a:gd name="T31" fmla="*/ 798 h 1003"/>
                <a:gd name="T32" fmla="*/ 387 w 598"/>
                <a:gd name="T33" fmla="*/ 774 h 1003"/>
                <a:gd name="T34" fmla="*/ 420 w 598"/>
                <a:gd name="T35" fmla="*/ 699 h 1003"/>
                <a:gd name="T36" fmla="*/ 435 w 598"/>
                <a:gd name="T37" fmla="*/ 654 h 1003"/>
                <a:gd name="T38" fmla="*/ 435 w 598"/>
                <a:gd name="T39" fmla="*/ 633 h 1003"/>
                <a:gd name="T40" fmla="*/ 417 w 598"/>
                <a:gd name="T41" fmla="*/ 615 h 1003"/>
                <a:gd name="T42" fmla="*/ 423 w 598"/>
                <a:gd name="T43" fmla="*/ 579 h 1003"/>
                <a:gd name="T44" fmla="*/ 408 w 598"/>
                <a:gd name="T45" fmla="*/ 567 h 1003"/>
                <a:gd name="T46" fmla="*/ 468 w 598"/>
                <a:gd name="T47" fmla="*/ 516 h 1003"/>
                <a:gd name="T48" fmla="*/ 468 w 598"/>
                <a:gd name="T49" fmla="*/ 474 h 1003"/>
                <a:gd name="T50" fmla="*/ 543 w 598"/>
                <a:gd name="T51" fmla="*/ 426 h 1003"/>
                <a:gd name="T52" fmla="*/ 597 w 598"/>
                <a:gd name="T53" fmla="*/ 282 h 1003"/>
                <a:gd name="T54" fmla="*/ 522 w 598"/>
                <a:gd name="T55" fmla="*/ 309 h 1003"/>
                <a:gd name="T56" fmla="*/ 465 w 598"/>
                <a:gd name="T57" fmla="*/ 294 h 1003"/>
                <a:gd name="T58" fmla="*/ 462 w 598"/>
                <a:gd name="T59" fmla="*/ 261 h 1003"/>
                <a:gd name="T60" fmla="*/ 399 w 598"/>
                <a:gd name="T61" fmla="*/ 222 h 1003"/>
                <a:gd name="T62" fmla="*/ 375 w 598"/>
                <a:gd name="T63" fmla="*/ 144 h 1003"/>
                <a:gd name="T64" fmla="*/ 342 w 598"/>
                <a:gd name="T65" fmla="*/ 93 h 1003"/>
                <a:gd name="T66" fmla="*/ 300 w 598"/>
                <a:gd name="T67" fmla="*/ 57 h 1003"/>
                <a:gd name="T68" fmla="*/ 306 w 598"/>
                <a:gd name="T69" fmla="*/ 0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8" h="1003">
                  <a:moveTo>
                    <a:pt x="15" y="636"/>
                  </a:moveTo>
                  <a:lnTo>
                    <a:pt x="36" y="666"/>
                  </a:lnTo>
                  <a:lnTo>
                    <a:pt x="0" y="726"/>
                  </a:lnTo>
                  <a:lnTo>
                    <a:pt x="45" y="822"/>
                  </a:lnTo>
                  <a:lnTo>
                    <a:pt x="69" y="894"/>
                  </a:lnTo>
                  <a:lnTo>
                    <a:pt x="87" y="951"/>
                  </a:lnTo>
                  <a:lnTo>
                    <a:pt x="126" y="1002"/>
                  </a:lnTo>
                  <a:lnTo>
                    <a:pt x="144" y="1002"/>
                  </a:lnTo>
                  <a:lnTo>
                    <a:pt x="153" y="999"/>
                  </a:lnTo>
                  <a:lnTo>
                    <a:pt x="183" y="993"/>
                  </a:lnTo>
                  <a:lnTo>
                    <a:pt x="264" y="951"/>
                  </a:lnTo>
                  <a:lnTo>
                    <a:pt x="297" y="906"/>
                  </a:lnTo>
                  <a:lnTo>
                    <a:pt x="315" y="867"/>
                  </a:lnTo>
                  <a:lnTo>
                    <a:pt x="339" y="843"/>
                  </a:lnTo>
                  <a:lnTo>
                    <a:pt x="357" y="834"/>
                  </a:lnTo>
                  <a:lnTo>
                    <a:pt x="366" y="798"/>
                  </a:lnTo>
                  <a:lnTo>
                    <a:pt x="387" y="774"/>
                  </a:lnTo>
                  <a:lnTo>
                    <a:pt x="420" y="699"/>
                  </a:lnTo>
                  <a:lnTo>
                    <a:pt x="435" y="654"/>
                  </a:lnTo>
                  <a:lnTo>
                    <a:pt x="435" y="633"/>
                  </a:lnTo>
                  <a:lnTo>
                    <a:pt x="417" y="615"/>
                  </a:lnTo>
                  <a:lnTo>
                    <a:pt x="423" y="579"/>
                  </a:lnTo>
                  <a:lnTo>
                    <a:pt x="408" y="567"/>
                  </a:lnTo>
                  <a:lnTo>
                    <a:pt x="468" y="516"/>
                  </a:lnTo>
                  <a:lnTo>
                    <a:pt x="468" y="474"/>
                  </a:lnTo>
                  <a:lnTo>
                    <a:pt x="543" y="426"/>
                  </a:lnTo>
                  <a:lnTo>
                    <a:pt x="597" y="282"/>
                  </a:lnTo>
                  <a:lnTo>
                    <a:pt x="522" y="309"/>
                  </a:lnTo>
                  <a:lnTo>
                    <a:pt x="465" y="294"/>
                  </a:lnTo>
                  <a:lnTo>
                    <a:pt x="462" y="261"/>
                  </a:lnTo>
                  <a:lnTo>
                    <a:pt x="399" y="222"/>
                  </a:lnTo>
                  <a:lnTo>
                    <a:pt x="375" y="144"/>
                  </a:lnTo>
                  <a:lnTo>
                    <a:pt x="342" y="93"/>
                  </a:lnTo>
                  <a:lnTo>
                    <a:pt x="300" y="57"/>
                  </a:lnTo>
                  <a:lnTo>
                    <a:pt x="306" y="0"/>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05" name="Freeform 69">
              <a:extLst>
                <a:ext uri="{FF2B5EF4-FFF2-40B4-BE49-F238E27FC236}">
                  <a16:creationId xmlns:a16="http://schemas.microsoft.com/office/drawing/2014/main" id="{7341E9E3-17CE-760E-A65C-3526794A3410}"/>
                </a:ext>
              </a:extLst>
            </p:cNvPr>
            <p:cNvSpPr>
              <a:spLocks/>
            </p:cNvSpPr>
            <p:nvPr/>
          </p:nvSpPr>
          <p:spPr bwMode="auto">
            <a:xfrm>
              <a:off x="680" y="2111"/>
              <a:ext cx="185" cy="159"/>
            </a:xfrm>
            <a:custGeom>
              <a:avLst/>
              <a:gdLst>
                <a:gd name="T0" fmla="*/ 21 w 160"/>
                <a:gd name="T1" fmla="*/ 72 h 139"/>
                <a:gd name="T2" fmla="*/ 21 w 160"/>
                <a:gd name="T3" fmla="*/ 63 h 139"/>
                <a:gd name="T4" fmla="*/ 12 w 160"/>
                <a:gd name="T5" fmla="*/ 54 h 139"/>
                <a:gd name="T6" fmla="*/ 0 w 160"/>
                <a:gd name="T7" fmla="*/ 48 h 139"/>
                <a:gd name="T8" fmla="*/ 108 w 160"/>
                <a:gd name="T9" fmla="*/ 0 h 139"/>
                <a:gd name="T10" fmla="*/ 150 w 160"/>
                <a:gd name="T11" fmla="*/ 57 h 139"/>
                <a:gd name="T12" fmla="*/ 159 w 160"/>
                <a:gd name="T13" fmla="*/ 120 h 139"/>
                <a:gd name="T14" fmla="*/ 141 w 160"/>
                <a:gd name="T15" fmla="*/ 138 h 139"/>
                <a:gd name="T16" fmla="*/ 87 w 160"/>
                <a:gd name="T17" fmla="*/ 93 h 139"/>
                <a:gd name="T18" fmla="*/ 60 w 160"/>
                <a:gd name="T19" fmla="*/ 63 h 139"/>
                <a:gd name="T20" fmla="*/ 21 w 160"/>
                <a:gd name="T21" fmla="*/ 7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39">
                  <a:moveTo>
                    <a:pt x="21" y="72"/>
                  </a:moveTo>
                  <a:lnTo>
                    <a:pt x="21" y="63"/>
                  </a:lnTo>
                  <a:lnTo>
                    <a:pt x="12" y="54"/>
                  </a:lnTo>
                  <a:lnTo>
                    <a:pt x="0" y="48"/>
                  </a:lnTo>
                  <a:lnTo>
                    <a:pt x="108" y="0"/>
                  </a:lnTo>
                  <a:lnTo>
                    <a:pt x="150" y="57"/>
                  </a:lnTo>
                  <a:lnTo>
                    <a:pt x="159" y="120"/>
                  </a:lnTo>
                  <a:lnTo>
                    <a:pt x="141" y="138"/>
                  </a:lnTo>
                  <a:lnTo>
                    <a:pt x="87" y="93"/>
                  </a:lnTo>
                  <a:lnTo>
                    <a:pt x="60" y="63"/>
                  </a:lnTo>
                  <a:lnTo>
                    <a:pt x="21" y="72"/>
                  </a:lnTo>
                </a:path>
              </a:pathLst>
            </a:custGeom>
            <a:grpFill/>
            <a:ln w="12700"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pSp>
      <p:sp>
        <p:nvSpPr>
          <p:cNvPr id="106" name="四角形: 角を丸くする 105">
            <a:extLst>
              <a:ext uri="{FF2B5EF4-FFF2-40B4-BE49-F238E27FC236}">
                <a16:creationId xmlns:a16="http://schemas.microsoft.com/office/drawing/2014/main" id="{CA5A2511-5A14-0463-D76D-F2DF4645AE1A}"/>
              </a:ext>
            </a:extLst>
          </p:cNvPr>
          <p:cNvSpPr/>
          <p:nvPr/>
        </p:nvSpPr>
        <p:spPr>
          <a:xfrm>
            <a:off x="3840769" y="3464355"/>
            <a:ext cx="1294615" cy="1275185"/>
          </a:xfrm>
          <a:prstGeom prst="roundRect">
            <a:avLst>
              <a:gd name="adj" fmla="val 8633"/>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Amer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Arial"/>
                <a:ea typeface="游ゴシック Medium"/>
                <a:cs typeface="+mn-cs"/>
              </a:rPr>
              <a:t>different SAP clients and other ERP</a:t>
            </a:r>
          </a:p>
        </p:txBody>
      </p:sp>
      <p:sp>
        <p:nvSpPr>
          <p:cNvPr id="107" name="四角形: 角を丸くする 106">
            <a:extLst>
              <a:ext uri="{FF2B5EF4-FFF2-40B4-BE49-F238E27FC236}">
                <a16:creationId xmlns:a16="http://schemas.microsoft.com/office/drawing/2014/main" id="{049AC839-0DF0-CEE5-CB07-732C031BB381}"/>
              </a:ext>
            </a:extLst>
          </p:cNvPr>
          <p:cNvSpPr/>
          <p:nvPr/>
        </p:nvSpPr>
        <p:spPr>
          <a:xfrm>
            <a:off x="722308" y="3415452"/>
            <a:ext cx="1185049" cy="1250258"/>
          </a:xfrm>
          <a:prstGeom prst="roundRect">
            <a:avLst>
              <a:gd name="adj" fmla="val 8358"/>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EME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FFFFFF"/>
                </a:solidFill>
                <a:effectLst/>
                <a:uLnTx/>
                <a:uFillTx/>
                <a:latin typeface="Arial"/>
                <a:ea typeface="游ゴシック Medium"/>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Arial"/>
                <a:ea typeface="游ゴシック Medium"/>
                <a:cs typeface="+mn-cs"/>
              </a:rPr>
              <a:t>different SAP clients</a:t>
            </a:r>
            <a:r>
              <a:rPr kumimoji="1" lang="ja-JP" altLang="en-US" sz="1200" b="0" i="0" u="none" strike="noStrike" kern="1200" cap="none" spc="0" normalizeH="0" baseline="0" noProof="0" dirty="0">
                <a:ln>
                  <a:noFill/>
                </a:ln>
                <a:solidFill>
                  <a:srgbClr val="FFFFFF"/>
                </a:solidFill>
                <a:effectLst/>
                <a:uLnTx/>
                <a:uFillTx/>
                <a:latin typeface="Arial"/>
                <a:ea typeface="游ゴシック Medium"/>
                <a:cs typeface="+mn-cs"/>
              </a:rPr>
              <a:t> </a:t>
            </a:r>
            <a:r>
              <a:rPr kumimoji="1" lang="en-US" altLang="ja-JP" sz="1200" b="0" i="0" u="none" strike="noStrike" kern="1200" cap="none" spc="0" normalizeH="0" baseline="0" noProof="0" dirty="0">
                <a:ln>
                  <a:noFill/>
                </a:ln>
                <a:solidFill>
                  <a:srgbClr val="FFFFFF"/>
                </a:solidFill>
                <a:effectLst/>
                <a:uLnTx/>
                <a:uFillTx/>
                <a:latin typeface="Arial"/>
                <a:ea typeface="游ゴシック Medium"/>
                <a:cs typeface="+mn-cs"/>
              </a:rPr>
              <a:t>and other ERP</a:t>
            </a:r>
          </a:p>
        </p:txBody>
      </p:sp>
      <p:sp>
        <p:nvSpPr>
          <p:cNvPr id="108" name="四角形: 角を丸くする 107">
            <a:extLst>
              <a:ext uri="{FF2B5EF4-FFF2-40B4-BE49-F238E27FC236}">
                <a16:creationId xmlns:a16="http://schemas.microsoft.com/office/drawing/2014/main" id="{6709A0FB-8860-7D72-ED94-3DC5CD747CD6}"/>
              </a:ext>
            </a:extLst>
          </p:cNvPr>
          <p:cNvSpPr/>
          <p:nvPr/>
        </p:nvSpPr>
        <p:spPr>
          <a:xfrm>
            <a:off x="2212795" y="4620960"/>
            <a:ext cx="1182821" cy="1275185"/>
          </a:xfrm>
          <a:prstGeom prst="roundRect">
            <a:avLst>
              <a:gd name="adj" fmla="val 8341"/>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AP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Arial"/>
                <a:ea typeface="游ゴシック Medium"/>
                <a:cs typeface="+mn-cs"/>
              </a:rPr>
              <a:t>different SAP clients and other ERP</a:t>
            </a:r>
          </a:p>
        </p:txBody>
      </p:sp>
      <p:sp>
        <p:nvSpPr>
          <p:cNvPr id="109" name="四角形: 角を丸くする 108">
            <a:extLst>
              <a:ext uri="{FF2B5EF4-FFF2-40B4-BE49-F238E27FC236}">
                <a16:creationId xmlns:a16="http://schemas.microsoft.com/office/drawing/2014/main" id="{FC9F5BC0-B177-3BD0-FD76-9F69A277EFA7}"/>
              </a:ext>
            </a:extLst>
          </p:cNvPr>
          <p:cNvSpPr/>
          <p:nvPr/>
        </p:nvSpPr>
        <p:spPr>
          <a:xfrm>
            <a:off x="2203408" y="3127946"/>
            <a:ext cx="1177782" cy="1225772"/>
          </a:xfrm>
          <a:prstGeom prst="roundRect">
            <a:avLst>
              <a:gd name="adj" fmla="val 5917"/>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Chi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Arial"/>
                <a:ea typeface="游ゴシック Medium"/>
                <a:cs typeface="+mn-cs"/>
              </a:rPr>
              <a:t>SAP client and other ERP</a:t>
            </a:r>
          </a:p>
        </p:txBody>
      </p:sp>
      <p:sp>
        <p:nvSpPr>
          <p:cNvPr id="113" name="三角形 142">
            <a:extLst>
              <a:ext uri="{FF2B5EF4-FFF2-40B4-BE49-F238E27FC236}">
                <a16:creationId xmlns:a16="http://schemas.microsoft.com/office/drawing/2014/main" id="{C9F34A40-5570-EDE9-6153-EAF14F2781F8}"/>
              </a:ext>
            </a:extLst>
          </p:cNvPr>
          <p:cNvSpPr/>
          <p:nvPr/>
        </p:nvSpPr>
        <p:spPr>
          <a:xfrm rot="5400000">
            <a:off x="5424972" y="4251601"/>
            <a:ext cx="963114" cy="490214"/>
          </a:xfrm>
          <a:prstGeom prst="triangle">
            <a:avLst/>
          </a:prstGeom>
        </p:spPr>
        <p:style>
          <a:lnRef idx="0">
            <a:schemeClr val="accent6"/>
          </a:lnRef>
          <a:fillRef idx="3">
            <a:schemeClr val="accent6"/>
          </a:fillRef>
          <a:effectRef idx="3">
            <a:schemeClr val="accent6"/>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14" name="四角形: 角を丸くする 13">
            <a:extLst>
              <a:ext uri="{FF2B5EF4-FFF2-40B4-BE49-F238E27FC236}">
                <a16:creationId xmlns:a16="http://schemas.microsoft.com/office/drawing/2014/main" id="{A15199E2-8A7E-4144-9E15-B863F02DA462}"/>
              </a:ext>
            </a:extLst>
          </p:cNvPr>
          <p:cNvSpPr/>
          <p:nvPr/>
        </p:nvSpPr>
        <p:spPr>
          <a:xfrm>
            <a:off x="6558709" y="3118093"/>
            <a:ext cx="4965895" cy="3108575"/>
          </a:xfrm>
          <a:prstGeom prst="roundRect">
            <a:avLst>
              <a:gd name="adj" fmla="val 4048"/>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115" name="正方形/長方形 114">
            <a:extLst>
              <a:ext uri="{FF2B5EF4-FFF2-40B4-BE49-F238E27FC236}">
                <a16:creationId xmlns:a16="http://schemas.microsoft.com/office/drawing/2014/main" id="{58B82224-DFBE-AEF9-4FD8-F6A90CE3AA5C}"/>
              </a:ext>
            </a:extLst>
          </p:cNvPr>
          <p:cNvSpPr/>
          <p:nvPr/>
        </p:nvSpPr>
        <p:spPr>
          <a:xfrm>
            <a:off x="7214522" y="3291605"/>
            <a:ext cx="3808630" cy="84536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EBEFF2">
                    <a:lumMod val="25000"/>
                  </a:srgbClr>
                </a:solidFill>
                <a:effectLst/>
                <a:uLnTx/>
                <a:uFillTx/>
                <a:latin typeface="Arial"/>
                <a:ea typeface="游ゴシック Medium"/>
                <a:cs typeface="+mn-cs"/>
              </a:rPr>
              <a:t>Standardized end-to-end processes</a:t>
            </a:r>
            <a:endParaRPr kumimoji="1" lang="ja-JP" altLang="en-US" sz="1400" b="0" i="0" u="none" strike="noStrike" kern="1200" cap="none" spc="0" normalizeH="0" baseline="0" noProof="0" dirty="0">
              <a:ln>
                <a:noFill/>
              </a:ln>
              <a:solidFill>
                <a:srgbClr val="EBEFF2">
                  <a:lumMod val="25000"/>
                </a:srgbClr>
              </a:solidFill>
              <a:effectLst/>
              <a:uLnTx/>
              <a:uFillTx/>
              <a:latin typeface="Arial"/>
              <a:ea typeface="游ゴシック Medium"/>
              <a:cs typeface="+mn-cs"/>
            </a:endParaRPr>
          </a:p>
        </p:txBody>
      </p:sp>
      <p:sp>
        <p:nvSpPr>
          <p:cNvPr id="119" name="正方形/長方形 118">
            <a:extLst>
              <a:ext uri="{FF2B5EF4-FFF2-40B4-BE49-F238E27FC236}">
                <a16:creationId xmlns:a16="http://schemas.microsoft.com/office/drawing/2014/main" id="{18C6CD10-67B6-4612-C67E-568E92A78C48}"/>
              </a:ext>
            </a:extLst>
          </p:cNvPr>
          <p:cNvSpPr/>
          <p:nvPr/>
        </p:nvSpPr>
        <p:spPr>
          <a:xfrm>
            <a:off x="7214521" y="4170290"/>
            <a:ext cx="3808629" cy="95285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EBEFF2">
                    <a:lumMod val="25000"/>
                  </a:srgbClr>
                </a:solidFill>
                <a:effectLst/>
                <a:uLnTx/>
                <a:uFillTx/>
                <a:latin typeface="Arial"/>
                <a:ea typeface="游ゴシック Medium"/>
                <a:cs typeface="+mn-cs"/>
              </a:rPr>
              <a:t>Consolidation of ERP systems</a:t>
            </a:r>
            <a:endParaRPr kumimoji="1" lang="ja-JP" altLang="en-US" sz="1400" b="0" i="0" u="none" strike="noStrike" kern="1200" cap="none" spc="0" normalizeH="0" baseline="0" noProof="0" dirty="0">
              <a:ln>
                <a:noFill/>
              </a:ln>
              <a:solidFill>
                <a:srgbClr val="EBEFF2">
                  <a:lumMod val="25000"/>
                </a:srgbClr>
              </a:solidFill>
              <a:effectLst/>
              <a:uLnTx/>
              <a:uFillTx/>
              <a:latin typeface="Arial"/>
              <a:ea typeface="游ゴシック Medium"/>
              <a:cs typeface="+mn-cs"/>
            </a:endParaRPr>
          </a:p>
        </p:txBody>
      </p:sp>
      <p:pic>
        <p:nvPicPr>
          <p:cNvPr id="121" name="図 120">
            <a:extLst>
              <a:ext uri="{FF2B5EF4-FFF2-40B4-BE49-F238E27FC236}">
                <a16:creationId xmlns:a16="http://schemas.microsoft.com/office/drawing/2014/main" id="{459DF4C4-15FF-D56A-48D4-D306E5C54279}"/>
              </a:ext>
            </a:extLst>
          </p:cNvPr>
          <p:cNvPicPr>
            <a:picLocks noChangeAspect="1"/>
          </p:cNvPicPr>
          <p:nvPr/>
        </p:nvPicPr>
        <p:blipFill>
          <a:blip r:embed="rId2"/>
          <a:stretch>
            <a:fillRect/>
          </a:stretch>
        </p:blipFill>
        <p:spPr>
          <a:xfrm>
            <a:off x="7381391" y="3623518"/>
            <a:ext cx="3526231" cy="499353"/>
          </a:xfrm>
          <a:prstGeom prst="rect">
            <a:avLst/>
          </a:prstGeom>
          <a:solidFill>
            <a:schemeClr val="accent2">
              <a:lumMod val="40000"/>
              <a:lumOff val="60000"/>
            </a:schemeClr>
          </a:solidFill>
        </p:spPr>
      </p:pic>
      <p:pic>
        <p:nvPicPr>
          <p:cNvPr id="122" name="図 121">
            <a:extLst>
              <a:ext uri="{FF2B5EF4-FFF2-40B4-BE49-F238E27FC236}">
                <a16:creationId xmlns:a16="http://schemas.microsoft.com/office/drawing/2014/main" id="{936B0017-F8B8-3990-AE0C-EF2BAF30B085}"/>
              </a:ext>
            </a:extLst>
          </p:cNvPr>
          <p:cNvPicPr>
            <a:picLocks noChangeAspect="1"/>
          </p:cNvPicPr>
          <p:nvPr/>
        </p:nvPicPr>
        <p:blipFill>
          <a:blip r:embed="rId3"/>
          <a:stretch>
            <a:fillRect/>
          </a:stretch>
        </p:blipFill>
        <p:spPr>
          <a:xfrm>
            <a:off x="7381355" y="4546785"/>
            <a:ext cx="3402807" cy="314026"/>
          </a:xfrm>
          <a:prstGeom prst="rect">
            <a:avLst/>
          </a:prstGeom>
        </p:spPr>
      </p:pic>
      <p:sp>
        <p:nvSpPr>
          <p:cNvPr id="123" name="正方形/長方形 122">
            <a:extLst>
              <a:ext uri="{FF2B5EF4-FFF2-40B4-BE49-F238E27FC236}">
                <a16:creationId xmlns:a16="http://schemas.microsoft.com/office/drawing/2014/main" id="{1F64D298-D2B1-B63D-E0B7-A45606D04199}"/>
              </a:ext>
            </a:extLst>
          </p:cNvPr>
          <p:cNvSpPr/>
          <p:nvPr/>
        </p:nvSpPr>
        <p:spPr>
          <a:xfrm>
            <a:off x="7214521" y="5158842"/>
            <a:ext cx="3808629" cy="84536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EBEFF2">
                    <a:lumMod val="25000"/>
                  </a:srgbClr>
                </a:solidFill>
                <a:effectLst/>
                <a:uLnTx/>
                <a:uFillTx/>
                <a:latin typeface="Arial"/>
                <a:ea typeface="游ゴシック Medium"/>
                <a:cs typeface="+mn-cs"/>
              </a:rPr>
              <a:t>Data governance and quality standards</a:t>
            </a:r>
            <a:endParaRPr kumimoji="1" lang="ja-JP" altLang="en-US" sz="1400" b="0" i="0" u="none" strike="noStrike" kern="1200" cap="none" spc="0" normalizeH="0" baseline="0" noProof="0" dirty="0">
              <a:ln>
                <a:noFill/>
              </a:ln>
              <a:solidFill>
                <a:srgbClr val="EBEFF2">
                  <a:lumMod val="25000"/>
                </a:srgbClr>
              </a:solidFill>
              <a:effectLst/>
              <a:uLnTx/>
              <a:uFillTx/>
              <a:latin typeface="Arial"/>
              <a:ea typeface="游ゴシック Medium"/>
              <a:cs typeface="+mn-cs"/>
            </a:endParaRPr>
          </a:p>
        </p:txBody>
      </p:sp>
      <p:sp>
        <p:nvSpPr>
          <p:cNvPr id="6" name="テキスト ボックス 5">
            <a:extLst>
              <a:ext uri="{FF2B5EF4-FFF2-40B4-BE49-F238E27FC236}">
                <a16:creationId xmlns:a16="http://schemas.microsoft.com/office/drawing/2014/main" id="{8A88FCB1-F4C8-2E9C-0F00-A8966196C852}"/>
              </a:ext>
            </a:extLst>
          </p:cNvPr>
          <p:cNvSpPr txBox="1"/>
          <p:nvPr/>
        </p:nvSpPr>
        <p:spPr>
          <a:xfrm>
            <a:off x="8260769" y="2208818"/>
            <a:ext cx="1915238" cy="610582"/>
          </a:xfrm>
          <a:prstGeom prst="rect">
            <a:avLst/>
          </a:prstGeom>
          <a:noFill/>
        </p:spPr>
        <p:txBody>
          <a:bodyPr wrap="non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sng" strike="noStrike" kern="1200" cap="none" spc="0" normalizeH="0" baseline="0" noProof="0" dirty="0">
                <a:ln>
                  <a:noFill/>
                </a:ln>
                <a:solidFill>
                  <a:srgbClr val="EBEFF2">
                    <a:lumMod val="25000"/>
                  </a:srgbClr>
                </a:solidFill>
                <a:effectLst/>
                <a:uLnTx/>
                <a:uFillTx/>
                <a:latin typeface="Arial"/>
                <a:ea typeface="游ゴシック Medium"/>
                <a:cs typeface="+mn-cs"/>
              </a:rPr>
              <a:t>To-Be</a:t>
            </a:r>
            <a:endParaRPr kumimoji="1" lang="ja-JP" altLang="en-US" sz="2000" b="0" i="0" u="sng" strike="noStrike" kern="1200" cap="none" spc="0" normalizeH="0" baseline="0" noProof="0" dirty="0" err="1">
              <a:ln>
                <a:noFill/>
              </a:ln>
              <a:solidFill>
                <a:srgbClr val="EBEFF2">
                  <a:lumMod val="25000"/>
                </a:srgbClr>
              </a:solidFill>
              <a:effectLst/>
              <a:uLnTx/>
              <a:uFillTx/>
              <a:latin typeface="Arial"/>
              <a:ea typeface="游ゴシック Medium"/>
              <a:cs typeface="+mn-cs"/>
            </a:endParaRPr>
          </a:p>
        </p:txBody>
      </p:sp>
      <p:sp>
        <p:nvSpPr>
          <p:cNvPr id="22" name="テキスト ボックス 21">
            <a:extLst>
              <a:ext uri="{FF2B5EF4-FFF2-40B4-BE49-F238E27FC236}">
                <a16:creationId xmlns:a16="http://schemas.microsoft.com/office/drawing/2014/main" id="{F828B2D8-5EEB-2E66-FF83-3471AAD3EB6F}"/>
              </a:ext>
            </a:extLst>
          </p:cNvPr>
          <p:cNvSpPr txBox="1"/>
          <p:nvPr/>
        </p:nvSpPr>
        <p:spPr>
          <a:xfrm>
            <a:off x="1822949" y="2208818"/>
            <a:ext cx="1915238" cy="610582"/>
          </a:xfrm>
          <a:prstGeom prst="rect">
            <a:avLst/>
          </a:prstGeom>
          <a:noFill/>
        </p:spPr>
        <p:txBody>
          <a:bodyPr wrap="non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sng" strike="noStrike" kern="1200" cap="none" spc="0" normalizeH="0" baseline="0" noProof="0" dirty="0">
                <a:ln>
                  <a:noFill/>
                </a:ln>
                <a:solidFill>
                  <a:srgbClr val="EBEFF2">
                    <a:lumMod val="25000"/>
                  </a:srgbClr>
                </a:solidFill>
                <a:effectLst/>
                <a:uLnTx/>
                <a:uFillTx/>
                <a:latin typeface="Arial"/>
                <a:ea typeface="游ゴシック Medium"/>
                <a:cs typeface="+mn-cs"/>
              </a:rPr>
              <a:t>As-Is</a:t>
            </a:r>
            <a:endParaRPr kumimoji="1" lang="ja-JP" altLang="en-US" sz="2000" b="0" i="0" u="sng" strike="noStrike" kern="1200" cap="none" spc="0" normalizeH="0" baseline="0" noProof="0" dirty="0" err="1">
              <a:ln>
                <a:noFill/>
              </a:ln>
              <a:solidFill>
                <a:srgbClr val="EBEFF2">
                  <a:lumMod val="25000"/>
                </a:srgbClr>
              </a:solidFill>
              <a:effectLst/>
              <a:uLnTx/>
              <a:uFillTx/>
              <a:latin typeface="Arial"/>
              <a:ea typeface="游ゴシック Medium"/>
              <a:cs typeface="+mn-cs"/>
            </a:endParaRPr>
          </a:p>
        </p:txBody>
      </p:sp>
      <p:sp>
        <p:nvSpPr>
          <p:cNvPr id="23" name="テキスト ボックス 22">
            <a:extLst>
              <a:ext uri="{FF2B5EF4-FFF2-40B4-BE49-F238E27FC236}">
                <a16:creationId xmlns:a16="http://schemas.microsoft.com/office/drawing/2014/main" id="{89E8294D-E46A-AE2E-1E06-06EA9DCBEE3D}"/>
              </a:ext>
            </a:extLst>
          </p:cNvPr>
          <p:cNvSpPr txBox="1"/>
          <p:nvPr/>
        </p:nvSpPr>
        <p:spPr>
          <a:xfrm>
            <a:off x="925808" y="2662163"/>
            <a:ext cx="4509390" cy="332308"/>
          </a:xfrm>
          <a:prstGeom prst="rect">
            <a:avLst/>
          </a:prstGeom>
          <a:noFill/>
        </p:spPr>
        <p:txBody>
          <a:bodyPr wrap="non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EBEFF2">
                    <a:lumMod val="25000"/>
                  </a:srgbClr>
                </a:solidFill>
                <a:effectLst/>
                <a:uLnTx/>
                <a:uFillTx/>
                <a:latin typeface="Arial"/>
                <a:ea typeface="游ゴシック Medium"/>
                <a:cs typeface="+mn-cs"/>
              </a:rPr>
              <a:t>28 different SAP and other ERP are up and running in 120 entities</a:t>
            </a:r>
            <a:endParaRPr kumimoji="1" lang="ja-JP" altLang="en-US" sz="1400" b="0" i="0" u="none" strike="noStrike" kern="1200" cap="none" spc="0" normalizeH="0" baseline="0" noProof="0" dirty="0" err="1">
              <a:ln>
                <a:noFill/>
              </a:ln>
              <a:solidFill>
                <a:srgbClr val="EBEFF2">
                  <a:lumMod val="25000"/>
                </a:srgbClr>
              </a:solidFill>
              <a:effectLst/>
              <a:uLnTx/>
              <a:uFillTx/>
              <a:latin typeface="Arial"/>
              <a:ea typeface="游ゴシック Medium"/>
              <a:cs typeface="+mn-cs"/>
            </a:endParaRPr>
          </a:p>
        </p:txBody>
      </p:sp>
      <p:sp>
        <p:nvSpPr>
          <p:cNvPr id="24" name="テキスト ボックス 23">
            <a:extLst>
              <a:ext uri="{FF2B5EF4-FFF2-40B4-BE49-F238E27FC236}">
                <a16:creationId xmlns:a16="http://schemas.microsoft.com/office/drawing/2014/main" id="{D1304832-7706-51AC-7407-4A927385F453}"/>
              </a:ext>
            </a:extLst>
          </p:cNvPr>
          <p:cNvSpPr txBox="1"/>
          <p:nvPr/>
        </p:nvSpPr>
        <p:spPr>
          <a:xfrm>
            <a:off x="6677807" y="2662163"/>
            <a:ext cx="4898523" cy="332308"/>
          </a:xfrm>
          <a:prstGeom prst="rect">
            <a:avLst/>
          </a:prstGeom>
          <a:noFill/>
        </p:spPr>
        <p:txBody>
          <a:bodyPr wrap="non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EBEFF2">
                    <a:lumMod val="25000"/>
                  </a:srgbClr>
                </a:solidFill>
                <a:effectLst/>
                <a:uLnTx/>
                <a:uFillTx/>
                <a:latin typeface="Arial"/>
                <a:ea typeface="游ゴシック Medium"/>
                <a:cs typeface="+mn-cs"/>
              </a:rPr>
              <a:t>One standard template deployed to global group companies</a:t>
            </a:r>
          </a:p>
        </p:txBody>
      </p:sp>
      <p:pic>
        <p:nvPicPr>
          <p:cNvPr id="28" name="グラフィックス 27" descr="データベース 単色塗りつぶし">
            <a:extLst>
              <a:ext uri="{FF2B5EF4-FFF2-40B4-BE49-F238E27FC236}">
                <a16:creationId xmlns:a16="http://schemas.microsoft.com/office/drawing/2014/main" id="{7E766A3D-1492-7B8D-6E76-37DA721A18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37866" y="5444662"/>
            <a:ext cx="567097" cy="567097"/>
          </a:xfrm>
          <a:prstGeom prst="rect">
            <a:avLst/>
          </a:prstGeom>
        </p:spPr>
      </p:pic>
      <p:grpSp>
        <p:nvGrpSpPr>
          <p:cNvPr id="34" name="グループ化 33">
            <a:extLst>
              <a:ext uri="{FF2B5EF4-FFF2-40B4-BE49-F238E27FC236}">
                <a16:creationId xmlns:a16="http://schemas.microsoft.com/office/drawing/2014/main" id="{0B6407B7-7A72-2715-5BDE-686A0E2BACEB}"/>
              </a:ext>
            </a:extLst>
          </p:cNvPr>
          <p:cNvGrpSpPr/>
          <p:nvPr/>
        </p:nvGrpSpPr>
        <p:grpSpPr>
          <a:xfrm>
            <a:off x="9785755" y="5406189"/>
            <a:ext cx="725986" cy="653759"/>
            <a:chOff x="5953471" y="3891828"/>
            <a:chExt cx="914400" cy="914400"/>
          </a:xfrm>
        </p:grpSpPr>
        <p:pic>
          <p:nvPicPr>
            <p:cNvPr id="30" name="グラフィックス 29" descr="モニター 単色塗りつぶし">
              <a:extLst>
                <a:ext uri="{FF2B5EF4-FFF2-40B4-BE49-F238E27FC236}">
                  <a16:creationId xmlns:a16="http://schemas.microsoft.com/office/drawing/2014/main" id="{01EC4547-DA6F-ED7C-3F46-4A1F22286A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53471" y="3891828"/>
              <a:ext cx="914400" cy="914400"/>
            </a:xfrm>
            <a:prstGeom prst="rect">
              <a:avLst/>
            </a:prstGeom>
          </p:spPr>
        </p:pic>
        <p:pic>
          <p:nvPicPr>
            <p:cNvPr id="33" name="グラフィックス 32" descr="棒グラフ (上昇) 単色塗りつぶし">
              <a:extLst>
                <a:ext uri="{FF2B5EF4-FFF2-40B4-BE49-F238E27FC236}">
                  <a16:creationId xmlns:a16="http://schemas.microsoft.com/office/drawing/2014/main" id="{B2EF3586-0205-EDDB-3F0A-CFE470E104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09528" y="4115978"/>
              <a:ext cx="375549" cy="375549"/>
            </a:xfrm>
            <a:prstGeom prst="rect">
              <a:avLst/>
            </a:prstGeom>
          </p:spPr>
        </p:pic>
      </p:grpSp>
      <p:sp>
        <p:nvSpPr>
          <p:cNvPr id="21" name="正方形/長方形 20">
            <a:extLst>
              <a:ext uri="{FF2B5EF4-FFF2-40B4-BE49-F238E27FC236}">
                <a16:creationId xmlns:a16="http://schemas.microsoft.com/office/drawing/2014/main" id="{7AABB0B3-94CA-D0B3-4462-3475B27BA9CC}"/>
              </a:ext>
            </a:extLst>
          </p:cNvPr>
          <p:cNvSpPr/>
          <p:nvPr/>
        </p:nvSpPr>
        <p:spPr>
          <a:xfrm>
            <a:off x="3738187" y="6226668"/>
            <a:ext cx="2044304" cy="25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e.g., MCA has 10 entity </a:t>
            </a:r>
            <a:endParaRPr kumimoji="1" lang="ja-JP" altLang="en-US" sz="14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endParaRPr>
          </a:p>
        </p:txBody>
      </p:sp>
    </p:spTree>
    <p:extLst>
      <p:ext uri="{BB962C8B-B14F-4D97-AF65-F5344CB8AC3E}">
        <p14:creationId xmlns:p14="http://schemas.microsoft.com/office/powerpoint/2010/main" val="604403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ime Sheets – India Resources</a:t>
            </a:r>
          </a:p>
        </p:txBody>
      </p:sp>
      <p:sp>
        <p:nvSpPr>
          <p:cNvPr id="7" name="スライド番号プレースホルダー 3">
            <a:extLst>
              <a:ext uri="{FF2B5EF4-FFF2-40B4-BE49-F238E27FC236}">
                <a16:creationId xmlns:a16="http://schemas.microsoft.com/office/drawing/2014/main" id="{7838963C-09FA-6FD5-4E61-D16518C0459C}"/>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40</a:t>
            </a:fld>
            <a:endParaRPr lang="ja-JP" altLang="en-US" dirty="0"/>
          </a:p>
        </p:txBody>
      </p:sp>
      <p:sp>
        <p:nvSpPr>
          <p:cNvPr id="9" name="Text Placeholder 8">
            <a:extLst>
              <a:ext uri="{FF2B5EF4-FFF2-40B4-BE49-F238E27FC236}">
                <a16:creationId xmlns:a16="http://schemas.microsoft.com/office/drawing/2014/main" id="{32A7199E-34A2-0A0E-119F-2A0948934B5B}"/>
              </a:ext>
            </a:extLst>
          </p:cNvPr>
          <p:cNvSpPr>
            <a:spLocks noGrp="1"/>
          </p:cNvSpPr>
          <p:nvPr>
            <p:ph type="body" sz="quarter" idx="1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Verdana" panose="020B0604030504040204" pitchFamily="34" charset="0"/>
              </a:rPr>
              <a:t>To update your Time Card.</a:t>
            </a:r>
          </a:p>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effectLst/>
                <a:uLnTx/>
                <a:uFillTx/>
                <a:ea typeface="Verdana"/>
              </a:rPr>
              <a:t>1. Access </a:t>
            </a:r>
            <a:r>
              <a:rPr lang="en-US" sz="1200" dirty="0">
                <a:ea typeface="Verdana"/>
                <a:hlinkClick r:id="rId2"/>
              </a:rPr>
              <a:t>https://talent.capgemini.com/in</a:t>
            </a: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effectLst/>
                <a:uLnTx/>
                <a:uFillTx/>
                <a:ea typeface="Verdana" panose="020B0604030504040204" pitchFamily="34" charset="0"/>
              </a:rPr>
              <a:t>2. Under Access All &gt; Useful Tools &gt; Timecard Application.</a:t>
            </a: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a:defRPr/>
            </a:pPr>
            <a:r>
              <a:rPr kumimoji="0" lang="en-US" sz="1200" b="0" i="0" u="none" strike="noStrike" kern="1200" cap="none" spc="0" normalizeH="0" baseline="0" noProof="0" dirty="0">
                <a:ln>
                  <a:noFill/>
                </a:ln>
                <a:effectLst/>
                <a:uLnTx/>
                <a:uFillTx/>
                <a:ea typeface="Verdana"/>
              </a:rPr>
              <a:t>3. Click on </a:t>
            </a:r>
            <a:r>
              <a:rPr lang="en-US" sz="1200" dirty="0">
                <a:ea typeface="Verdana"/>
              </a:rPr>
              <a:t>Time-Card</a:t>
            </a:r>
            <a:r>
              <a:rPr kumimoji="0" lang="en-US" sz="1200" b="0" i="0" u="none" strike="noStrike" kern="1200" cap="none" spc="0" normalizeH="0" baseline="0" noProof="0" dirty="0">
                <a:ln>
                  <a:noFill/>
                </a:ln>
                <a:effectLst/>
                <a:uLnTx/>
                <a:uFillTx/>
                <a:ea typeface="Verdana"/>
              </a:rPr>
              <a:t> Application &gt;Time Summary&gt;Project</a:t>
            </a:r>
            <a:r>
              <a:rPr kumimoji="0" lang="en-US" sz="1200" b="0" i="0" u="none" strike="noStrike" kern="1200" cap="none" spc="0" normalizeH="0" noProof="0" dirty="0">
                <a:ln>
                  <a:noFill/>
                </a:ln>
                <a:effectLst/>
                <a:uLnTx/>
                <a:uFillTx/>
                <a:ea typeface="Verdana"/>
              </a:rPr>
              <a:t> Details</a:t>
            </a:r>
            <a:r>
              <a:rPr kumimoji="0" lang="en-US" sz="1200" b="0" i="0" u="none" strike="noStrike" kern="1200" cap="none" spc="0" normalizeH="0" baseline="0" noProof="0" dirty="0">
                <a:ln>
                  <a:noFill/>
                </a:ln>
                <a:effectLst/>
                <a:uLnTx/>
                <a:uFillTx/>
                <a:ea typeface="Verdana"/>
              </a:rPr>
              <a:t>&gt; New&gt;Fill</a:t>
            </a:r>
            <a:r>
              <a:rPr kumimoji="0" lang="en-US" sz="1200" b="0" i="0" u="none" strike="noStrike" kern="1200" cap="none" spc="0" normalizeH="0" noProof="0" dirty="0">
                <a:ln>
                  <a:noFill/>
                </a:ln>
                <a:effectLst/>
                <a:uLnTx/>
                <a:uFillTx/>
                <a:ea typeface="Verdana"/>
              </a:rPr>
              <a:t> details</a:t>
            </a:r>
            <a:r>
              <a:rPr kumimoji="0" lang="en-US" sz="1200" b="0" i="0" u="none" strike="noStrike" kern="1200" cap="none" spc="0" normalizeH="0" baseline="0" noProof="0" dirty="0">
                <a:ln>
                  <a:noFill/>
                </a:ln>
                <a:effectLst/>
                <a:uLnTx/>
                <a:uFillTx/>
                <a:ea typeface="Verdana"/>
              </a:rPr>
              <a:t>&gt;Submit</a:t>
            </a:r>
            <a:endParaRPr lang="en-US" sz="1200" b="0" i="0" u="none" strike="noStrike" kern="1200" cap="none" spc="0" normalizeH="0" baseline="0" noProof="0" dirty="0">
              <a:ln>
                <a:noFill/>
              </a:ln>
              <a:effectLst/>
              <a:uLnTx/>
              <a:uFillTx/>
              <a:ea typeface="Verdana"/>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200" dirty="0">
              <a:ea typeface="Verdana" panose="020B0604030504040204" pitchFamily="34" charset="0"/>
            </a:endParaRPr>
          </a:p>
          <a:p>
            <a:pPr marR="0" lvl="0" algn="l" defTabSz="914400">
              <a:lnSpc>
                <a:spcPct val="100000"/>
              </a:lnSpc>
              <a:spcBef>
                <a:spcPts val="0"/>
              </a:spcBef>
              <a:spcAft>
                <a:spcPts val="0"/>
              </a:spcAft>
              <a:buClrTx/>
              <a:buSzTx/>
              <a:tabLst/>
              <a:defRPr/>
            </a:pPr>
            <a:endParaRPr lang="en-US" sz="1200" b="0" i="0" u="none" strike="noStrike" kern="1200" cap="none" spc="0" normalizeH="0" baseline="0" noProof="0" dirty="0">
              <a:ln>
                <a:noFill/>
              </a:ln>
              <a:effectLst/>
              <a:uLnTx/>
              <a:uFillTx/>
              <a:ea typeface="Verdana" panose="020B0604030504040204" pitchFamily="34" charset="0"/>
            </a:endParaRPr>
          </a:p>
          <a:p>
            <a:pPr>
              <a:defRPr/>
            </a:pPr>
            <a:endParaRPr lang="en-US" sz="1200" dirty="0">
              <a:ea typeface="Verdana" panose="020B0604030504040204" pitchFamily="34" charset="0"/>
            </a:endParaRPr>
          </a:p>
          <a:p>
            <a:pPr>
              <a:defRPr/>
            </a:pPr>
            <a:endParaRPr lang="en-US" sz="1200" dirty="0">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200" dirty="0">
                <a:ea typeface="Verdana" panose="020B0604030504040204" pitchFamily="34" charset="0"/>
              </a:rPr>
              <a:t>Note that all learning &amp; development activities are to be booked over and above the 9hrs on project.</a:t>
            </a:r>
            <a:endParaRPr lang="en-US" sz="1200" b="0" i="0" u="none" strike="noStrike" kern="1200" cap="none" spc="0" normalizeH="0" baseline="0" noProof="0" dirty="0">
              <a:ln>
                <a:noFill/>
              </a:ln>
              <a:effectLst/>
              <a:uLnTx/>
              <a:uFillTx/>
              <a:ea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effectLst/>
                <a:uLnTx/>
                <a:uFillTx/>
                <a:ea typeface="Verdana" panose="020B0604030504040204" pitchFamily="34" charset="0"/>
              </a:rPr>
              <a:t>You are expected to fill your timecards every Friday and get it approved</a:t>
            </a:r>
            <a:r>
              <a:rPr kumimoji="0" lang="en-US" sz="1200" b="1" i="0" u="none" strike="noStrike" kern="1200" cap="none" spc="0" normalizeH="0" noProof="0" dirty="0">
                <a:ln>
                  <a:noFill/>
                </a:ln>
                <a:effectLst/>
                <a:uLnTx/>
                <a:uFillTx/>
                <a:ea typeface="Verdana" panose="020B0604030504040204" pitchFamily="34" charset="0"/>
              </a:rPr>
              <a:t> at the latest by last Monday of each month.</a:t>
            </a:r>
            <a:endParaRPr kumimoji="0" lang="en-IN" sz="1200" b="1" i="0" u="none" strike="noStrike" kern="1200" cap="none" spc="0" normalizeH="0" baseline="0" noProof="0" dirty="0">
              <a:ln>
                <a:noFill/>
              </a:ln>
              <a:effectLst/>
              <a:uLnTx/>
              <a:uFillTx/>
              <a:ea typeface="Verdana" panose="020B0604030504040204" pitchFamily="34" charset="0"/>
            </a:endParaRPr>
          </a:p>
          <a:p>
            <a:endParaRPr lang="en-IN" sz="1200" dirty="0"/>
          </a:p>
        </p:txBody>
      </p:sp>
      <p:sp>
        <p:nvSpPr>
          <p:cNvPr id="8" name="フッター プレースホルダー 2">
            <a:extLst>
              <a:ext uri="{FF2B5EF4-FFF2-40B4-BE49-F238E27FC236}">
                <a16:creationId xmlns:a16="http://schemas.microsoft.com/office/drawing/2014/main" id="{54F297FC-217E-774C-283C-11F14965405B}"/>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pic>
        <p:nvPicPr>
          <p:cNvPr id="3" name="Picture 2"/>
          <p:cNvPicPr>
            <a:picLocks noChangeAspect="1"/>
          </p:cNvPicPr>
          <p:nvPr/>
        </p:nvPicPr>
        <p:blipFill>
          <a:blip r:embed="rId3"/>
          <a:stretch>
            <a:fillRect/>
          </a:stretch>
        </p:blipFill>
        <p:spPr>
          <a:xfrm>
            <a:off x="570340" y="3518644"/>
            <a:ext cx="4054928" cy="2224062"/>
          </a:xfrm>
          <a:prstGeom prst="rect">
            <a:avLst/>
          </a:prstGeom>
        </p:spPr>
      </p:pic>
      <p:pic>
        <p:nvPicPr>
          <p:cNvPr id="6" name="Content Placeholder 3">
            <a:extLst>
              <a:ext uri="{FF2B5EF4-FFF2-40B4-BE49-F238E27FC236}">
                <a16:creationId xmlns:a16="http://schemas.microsoft.com/office/drawing/2014/main" id="{53FAB89D-6476-4CBD-AF97-0E95141D7BBC}"/>
              </a:ext>
            </a:extLst>
          </p:cNvPr>
          <p:cNvPicPr>
            <a:picLocks noChangeAspect="1"/>
          </p:cNvPicPr>
          <p:nvPr/>
        </p:nvPicPr>
        <p:blipFill rotWithShape="1">
          <a:blip r:embed="rId4"/>
          <a:srcRect b="38889"/>
          <a:stretch/>
        </p:blipFill>
        <p:spPr>
          <a:xfrm>
            <a:off x="425196" y="1828800"/>
            <a:ext cx="5434741" cy="1295400"/>
          </a:xfrm>
          <a:prstGeom prst="rect">
            <a:avLst/>
          </a:prstGeom>
        </p:spPr>
      </p:pic>
    </p:spTree>
    <p:extLst>
      <p:ext uri="{BB962C8B-B14F-4D97-AF65-F5344CB8AC3E}">
        <p14:creationId xmlns:p14="http://schemas.microsoft.com/office/powerpoint/2010/main" val="2654496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imesheets – Others</a:t>
            </a:r>
            <a:br>
              <a:rPr lang="en-IN" dirty="0"/>
            </a:br>
            <a:endParaRPr lang="en-IN" dirty="0"/>
          </a:p>
        </p:txBody>
      </p:sp>
      <p:sp>
        <p:nvSpPr>
          <p:cNvPr id="3" name="Text Placeholder 2"/>
          <p:cNvSpPr>
            <a:spLocks noGrp="1"/>
          </p:cNvSpPr>
          <p:nvPr>
            <p:ph type="body" sz="quarter" idx="11"/>
          </p:nvPr>
        </p:nvSpPr>
        <p:spPr/>
        <p:txBody>
          <a:bodyPr>
            <a:normAutofit/>
          </a:bodyPr>
          <a:lstStyle/>
          <a:p>
            <a:pPr marL="342900" indent="-342900">
              <a:buAutoNum type="arabicPeriod"/>
            </a:pPr>
            <a:r>
              <a:rPr lang="en-IN" dirty="0">
                <a:solidFill>
                  <a:schemeClr val="tx1"/>
                </a:solidFill>
              </a:rPr>
              <a:t>Fill in the excel attached</a:t>
            </a:r>
          </a:p>
          <a:p>
            <a:pPr marL="342900" indent="-342900">
              <a:buAutoNum type="arabicPeriod"/>
            </a:pPr>
            <a:endParaRPr lang="en-IN" dirty="0">
              <a:solidFill>
                <a:schemeClr val="tx1"/>
              </a:solidFill>
            </a:endParaRPr>
          </a:p>
          <a:p>
            <a:pPr marL="342900" indent="-342900">
              <a:buAutoNum type="arabicPeriod"/>
            </a:pPr>
            <a:endParaRPr lang="en-IN" dirty="0">
              <a:solidFill>
                <a:schemeClr val="tx1"/>
              </a:solidFill>
            </a:endParaRPr>
          </a:p>
          <a:p>
            <a:pPr marL="342900" indent="-342900">
              <a:buAutoNum type="arabicPeriod"/>
            </a:pPr>
            <a:endParaRPr lang="en-IN" dirty="0">
              <a:solidFill>
                <a:schemeClr val="tx1"/>
              </a:solidFill>
            </a:endParaRPr>
          </a:p>
          <a:p>
            <a:pPr marL="342900" indent="-342900">
              <a:buAutoNum type="arabicPeriod"/>
            </a:pPr>
            <a:r>
              <a:rPr lang="en-IN" dirty="0">
                <a:solidFill>
                  <a:schemeClr val="tx1"/>
                </a:solidFill>
              </a:rPr>
              <a:t>Submit to the PMO team every 25</a:t>
            </a:r>
            <a:r>
              <a:rPr lang="en-IN" baseline="30000" dirty="0">
                <a:solidFill>
                  <a:schemeClr val="tx1"/>
                </a:solidFill>
              </a:rPr>
              <a:t>th</a:t>
            </a:r>
            <a:r>
              <a:rPr lang="en-IN" dirty="0">
                <a:solidFill>
                  <a:schemeClr val="tx1"/>
                </a:solidFill>
              </a:rPr>
              <a:t> day </a:t>
            </a:r>
          </a:p>
          <a:p>
            <a:endParaRPr lang="en-IN" dirty="0">
              <a:solidFill>
                <a:schemeClr val="tx1"/>
              </a:solidFill>
            </a:endParaRPr>
          </a:p>
        </p:txBody>
      </p:sp>
      <p:graphicFrame>
        <p:nvGraphicFramePr>
          <p:cNvPr id="5" name="Object 4">
            <a:extLst>
              <a:ext uri="{FF2B5EF4-FFF2-40B4-BE49-F238E27FC236}">
                <a16:creationId xmlns:a16="http://schemas.microsoft.com/office/drawing/2014/main" id="{B5FEE39D-8D6C-4BFD-9511-54E94F55EE98}"/>
              </a:ext>
            </a:extLst>
          </p:cNvPr>
          <p:cNvGraphicFramePr>
            <a:graphicFrameLocks noChangeAspect="1"/>
          </p:cNvGraphicFramePr>
          <p:nvPr>
            <p:extLst>
              <p:ext uri="{D42A27DB-BD31-4B8C-83A1-F6EECF244321}">
                <p14:modId xmlns:p14="http://schemas.microsoft.com/office/powerpoint/2010/main" val="491681205"/>
              </p:ext>
            </p:extLst>
          </p:nvPr>
        </p:nvGraphicFramePr>
        <p:xfrm>
          <a:off x="4198938" y="1497013"/>
          <a:ext cx="835025" cy="736600"/>
        </p:xfrm>
        <a:graphic>
          <a:graphicData uri="http://schemas.openxmlformats.org/presentationml/2006/ole">
            <mc:AlternateContent xmlns:mc="http://schemas.openxmlformats.org/markup-compatibility/2006">
              <mc:Choice xmlns:v="urn:schemas-microsoft-com:vml" Requires="v">
                <p:oleObj name="Worksheet" showAsIcon="1" r:id="rId2" imgW="834480" imgH="736560" progId="Excel.Sheet.12">
                  <p:embed/>
                </p:oleObj>
              </mc:Choice>
              <mc:Fallback>
                <p:oleObj name="Worksheet" showAsIcon="1" r:id="rId2" imgW="834480" imgH="736560" progId="Excel.Sheet.12">
                  <p:embed/>
                  <p:pic>
                    <p:nvPicPr>
                      <p:cNvPr id="5" name="Object 4">
                        <a:extLst>
                          <a:ext uri="{FF2B5EF4-FFF2-40B4-BE49-F238E27FC236}">
                            <a16:creationId xmlns:a16="http://schemas.microsoft.com/office/drawing/2014/main" id="{B5FEE39D-8D6C-4BFD-9511-54E94F55EE98}"/>
                          </a:ext>
                        </a:extLst>
                      </p:cNvPr>
                      <p:cNvPicPr/>
                      <p:nvPr/>
                    </p:nvPicPr>
                    <p:blipFill>
                      <a:blip r:embed="rId3"/>
                      <a:stretch>
                        <a:fillRect/>
                      </a:stretch>
                    </p:blipFill>
                    <p:spPr>
                      <a:xfrm>
                        <a:off x="4198938" y="1497013"/>
                        <a:ext cx="835025" cy="736600"/>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F44FDD6E-80F9-C32B-4F3E-C8A6D8C98185}"/>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41</a:t>
            </a:fld>
            <a:endParaRPr lang="ja-JP" altLang="en-US" dirty="0"/>
          </a:p>
        </p:txBody>
      </p:sp>
      <p:sp>
        <p:nvSpPr>
          <p:cNvPr id="6" name="フッター プレースホルダー 2">
            <a:extLst>
              <a:ext uri="{FF2B5EF4-FFF2-40B4-BE49-F238E27FC236}">
                <a16:creationId xmlns:a16="http://schemas.microsoft.com/office/drawing/2014/main" id="{76E91430-2FED-564F-35E9-07CA7335B96D}"/>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7567920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vailability Tracker</a:t>
            </a:r>
          </a:p>
        </p:txBody>
      </p:sp>
      <p:sp>
        <p:nvSpPr>
          <p:cNvPr id="4" name="TextBox 3"/>
          <p:cNvSpPr txBox="1"/>
          <p:nvPr/>
        </p:nvSpPr>
        <p:spPr>
          <a:xfrm>
            <a:off x="419100" y="1043529"/>
            <a:ext cx="11239500" cy="2031325"/>
          </a:xfrm>
          <a:prstGeom prst="rect">
            <a:avLst/>
          </a:prstGeom>
          <a:noFill/>
        </p:spPr>
        <p:txBody>
          <a:bodyPr wrap="square" rtlCol="0">
            <a:spAutoFit/>
          </a:bodyPr>
          <a:lstStyle/>
          <a:p>
            <a:pPr marL="285750" indent="-285750">
              <a:buFont typeface="Arial" panose="020B0604020202020204" pitchFamily="34" charset="0"/>
              <a:buChar char="•"/>
            </a:pPr>
            <a:r>
              <a:rPr lang="en-IN" dirty="0"/>
              <a:t>It is a tracker that shows the availability &amp; location of all MCG team.</a:t>
            </a:r>
          </a:p>
          <a:p>
            <a:pPr marL="285750" indent="-285750">
              <a:buFont typeface="Arial" panose="020B0604020202020204" pitchFamily="34" charset="0"/>
              <a:buChar char="•"/>
            </a:pPr>
            <a:r>
              <a:rPr lang="en-IN" dirty="0"/>
              <a:t>You are expected to fill in the availability before 5</a:t>
            </a:r>
            <a:r>
              <a:rPr lang="en-IN" baseline="30000" dirty="0"/>
              <a:t>th</a:t>
            </a:r>
            <a:r>
              <a:rPr lang="en-IN" dirty="0"/>
              <a:t> of each month.</a:t>
            </a:r>
          </a:p>
          <a:p>
            <a:pPr marL="285750" indent="-285750">
              <a:buFont typeface="Arial" panose="020B0604020202020204" pitchFamily="34" charset="0"/>
              <a:buChar char="•"/>
            </a:pPr>
            <a:r>
              <a:rPr lang="en-IN" dirty="0"/>
              <a:t>Refer the picture below.</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pic>
        <p:nvPicPr>
          <p:cNvPr id="5" name="Picture 4"/>
          <p:cNvPicPr>
            <a:picLocks noChangeAspect="1"/>
          </p:cNvPicPr>
          <p:nvPr/>
        </p:nvPicPr>
        <p:blipFill rotWithShape="1">
          <a:blip r:embed="rId2"/>
          <a:srcRect b="6942"/>
          <a:stretch/>
        </p:blipFill>
        <p:spPr>
          <a:xfrm>
            <a:off x="419100" y="2209800"/>
            <a:ext cx="7998224" cy="1016626"/>
          </a:xfrm>
          <a:prstGeom prst="rect">
            <a:avLst/>
          </a:prstGeom>
        </p:spPr>
      </p:pic>
      <p:sp>
        <p:nvSpPr>
          <p:cNvPr id="6" name="Title 1"/>
          <p:cNvSpPr txBox="1">
            <a:spLocks/>
          </p:cNvSpPr>
          <p:nvPr/>
        </p:nvSpPr>
        <p:spPr>
          <a:xfrm>
            <a:off x="495300" y="3886200"/>
            <a:ext cx="11353801" cy="838200"/>
          </a:xfrm>
          <a:prstGeom prst="rect">
            <a:avLst/>
          </a:prstGeom>
        </p:spPr>
        <p:txBody>
          <a:bodyPr vert="horz" lIns="0" tIns="0" rIns="0" bIns="0" rtlCol="0" anchor="t">
            <a:noAutofit/>
          </a:bodyPr>
          <a:lstStyle>
            <a:lvl1pPr marL="0" marR="0" indent="0" algn="l" defTabSz="914126" rtl="0" eaLnBrk="1" fontAlgn="auto" latinLnBrk="0" hangingPunct="1">
              <a:lnSpc>
                <a:spcPct val="80000"/>
              </a:lnSpc>
              <a:spcBef>
                <a:spcPct val="0"/>
              </a:spcBef>
              <a:spcAft>
                <a:spcPts val="0"/>
              </a:spcAft>
              <a:buClrTx/>
              <a:buSzTx/>
              <a:buFontTx/>
              <a:buNone/>
              <a:tabLst/>
              <a:defRPr kumimoji="0" lang="en-US" sz="2800" b="1" i="0" u="none" strike="noStrike" kern="1200" cap="all" spc="0" normalizeH="0" baseline="0" noProof="0" dirty="0">
                <a:ln>
                  <a:noFill/>
                </a:ln>
                <a:solidFill>
                  <a:schemeClr val="tx2"/>
                </a:solidFill>
                <a:effectLst/>
                <a:uLnTx/>
                <a:uFillTx/>
                <a:latin typeface="+mn-lt"/>
                <a:ea typeface="+mj-ea"/>
                <a:cs typeface="+mj-cs"/>
              </a:defRPr>
            </a:lvl1pPr>
          </a:lstStyle>
          <a:p>
            <a:r>
              <a:rPr lang="en-IN" sz="2400" cap="none" dirty="0">
                <a:solidFill>
                  <a:schemeClr val="tx1"/>
                </a:solidFill>
              </a:rPr>
              <a:t>Leave Process</a:t>
            </a:r>
          </a:p>
        </p:txBody>
      </p:sp>
      <p:sp>
        <p:nvSpPr>
          <p:cNvPr id="8" name="TextBox 7"/>
          <p:cNvSpPr txBox="1"/>
          <p:nvPr/>
        </p:nvSpPr>
        <p:spPr>
          <a:xfrm>
            <a:off x="429577" y="4235780"/>
            <a:ext cx="11239500" cy="2585323"/>
          </a:xfrm>
          <a:prstGeom prst="rect">
            <a:avLst/>
          </a:prstGeom>
          <a:noFill/>
        </p:spPr>
        <p:txBody>
          <a:bodyPr wrap="square" rtlCol="0">
            <a:spAutoFit/>
          </a:bodyPr>
          <a:lstStyle/>
          <a:p>
            <a:pPr marL="285750" indent="-285750">
              <a:buFont typeface="Arial" panose="020B0604020202020204" pitchFamily="34" charset="0"/>
              <a:buChar char="•"/>
            </a:pPr>
            <a:r>
              <a:rPr lang="en-IN" dirty="0"/>
              <a:t>Drop a mail to your lead with PMO team in cc.</a:t>
            </a:r>
          </a:p>
          <a:p>
            <a:pPr marL="285750" indent="-285750">
              <a:buFont typeface="Arial" panose="020B0604020202020204" pitchFamily="34" charset="0"/>
              <a:buChar char="•"/>
            </a:pPr>
            <a:r>
              <a:rPr lang="en-IN" dirty="0"/>
              <a:t>Plan your KT to your backup team member.</a:t>
            </a:r>
          </a:p>
          <a:p>
            <a:pPr marL="285750" indent="-285750">
              <a:buFont typeface="Arial" panose="020B0604020202020204" pitchFamily="34" charset="0"/>
              <a:buChar char="•"/>
            </a:pPr>
            <a:r>
              <a:rPr lang="en-IN" dirty="0"/>
              <a:t>As agreed with your lead, apply in the system.</a:t>
            </a:r>
          </a:p>
          <a:p>
            <a:pPr marL="285750" indent="-285750">
              <a:buFont typeface="Arial" panose="020B0604020202020204" pitchFamily="34" charset="0"/>
              <a:buChar char="•"/>
            </a:pPr>
            <a:r>
              <a:rPr lang="en-IN" dirty="0"/>
              <a:t>Get leave approved by your supervisor.</a:t>
            </a:r>
          </a:p>
          <a:p>
            <a:pPr marL="285750" indent="-285750">
              <a:buFont typeface="Arial" panose="020B0604020202020204" pitchFamily="34" charset="0"/>
              <a:buChar char="•"/>
            </a:pPr>
            <a:r>
              <a:rPr lang="en-IN" dirty="0"/>
              <a:t>Once done, update the availability tracker.</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graphicFrame>
        <p:nvGraphicFramePr>
          <p:cNvPr id="3" name="Table 2"/>
          <p:cNvGraphicFramePr>
            <a:graphicFrameLocks noGrp="1"/>
          </p:cNvGraphicFramePr>
          <p:nvPr>
            <p:extLst>
              <p:ext uri="{D42A27DB-BD31-4B8C-83A1-F6EECF244321}">
                <p14:modId xmlns:p14="http://schemas.microsoft.com/office/powerpoint/2010/main" val="4218696423"/>
              </p:ext>
            </p:extLst>
          </p:nvPr>
        </p:nvGraphicFramePr>
        <p:xfrm>
          <a:off x="8686800" y="1963510"/>
          <a:ext cx="2743200" cy="1262916"/>
        </p:xfrm>
        <a:graphic>
          <a:graphicData uri="http://schemas.openxmlformats.org/drawingml/2006/table">
            <a:tbl>
              <a:tblPr/>
              <a:tblGrid>
                <a:gridCol w="761017">
                  <a:extLst>
                    <a:ext uri="{9D8B030D-6E8A-4147-A177-3AD203B41FA5}">
                      <a16:colId xmlns:a16="http://schemas.microsoft.com/office/drawing/2014/main" val="1235802391"/>
                    </a:ext>
                  </a:extLst>
                </a:gridCol>
                <a:gridCol w="1982183">
                  <a:extLst>
                    <a:ext uri="{9D8B030D-6E8A-4147-A177-3AD203B41FA5}">
                      <a16:colId xmlns:a16="http://schemas.microsoft.com/office/drawing/2014/main" val="602251634"/>
                    </a:ext>
                  </a:extLst>
                </a:gridCol>
              </a:tblGrid>
              <a:tr h="315729">
                <a:tc>
                  <a:txBody>
                    <a:bodyPr/>
                    <a:lstStyle/>
                    <a:p>
                      <a:pPr algn="l" fontAlgn="ctr"/>
                      <a:r>
                        <a:rPr lang="en-IN" sz="1600" b="0" i="0" u="none" strike="noStrike" dirty="0">
                          <a:solidFill>
                            <a:srgbClr val="FFFFFF"/>
                          </a:solidFill>
                          <a:effectLst/>
                          <a:latin typeface="+mn-lt"/>
                        </a:rPr>
                        <a:t>AL</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000000"/>
                    </a:solidFill>
                  </a:tcPr>
                </a:tc>
                <a:tc>
                  <a:txBody>
                    <a:bodyPr/>
                    <a:lstStyle/>
                    <a:p>
                      <a:pPr algn="l" fontAlgn="ctr"/>
                      <a:r>
                        <a:rPr lang="en-IN" sz="1600" b="0" i="0" u="none" strike="noStrike" dirty="0">
                          <a:solidFill>
                            <a:srgbClr val="000000"/>
                          </a:solidFill>
                          <a:effectLst/>
                          <a:latin typeface="+mn-lt"/>
                        </a:rPr>
                        <a:t>Annual Leave</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981853445"/>
                  </a:ext>
                </a:extLst>
              </a:tr>
              <a:tr h="315729">
                <a:tc>
                  <a:txBody>
                    <a:bodyPr/>
                    <a:lstStyle/>
                    <a:p>
                      <a:pPr algn="l" fontAlgn="b"/>
                      <a:r>
                        <a:rPr lang="en-IN" sz="1600" b="0" i="0" u="none" strike="noStrike">
                          <a:solidFill>
                            <a:srgbClr val="FFFFFF"/>
                          </a:solidFill>
                          <a:effectLst/>
                          <a:latin typeface="+mn-lt"/>
                        </a:rPr>
                        <a:t>NH</a:t>
                      </a:r>
                    </a:p>
                  </a:txBody>
                  <a:tcPr marL="6350" marR="6350" marT="6350" anchor="b">
                    <a:lnL w="6350" cap="flat" cmpd="sng" algn="ctr">
                      <a:solidFill>
                        <a:srgbClr val="F2F2F2"/>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316857"/>
                    </a:solidFill>
                  </a:tcPr>
                </a:tc>
                <a:tc>
                  <a:txBody>
                    <a:bodyPr/>
                    <a:lstStyle/>
                    <a:p>
                      <a:pPr algn="l" fontAlgn="ctr"/>
                      <a:r>
                        <a:rPr lang="en-IN" sz="1600" b="0" i="0" u="none" strike="noStrike" dirty="0">
                          <a:solidFill>
                            <a:srgbClr val="000000"/>
                          </a:solidFill>
                          <a:effectLst/>
                          <a:latin typeface="+mn-lt"/>
                        </a:rPr>
                        <a:t>National Holiday</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95799009"/>
                  </a:ext>
                </a:extLst>
              </a:tr>
              <a:tr h="315729">
                <a:tc>
                  <a:txBody>
                    <a:bodyPr/>
                    <a:lstStyle/>
                    <a:p>
                      <a:pPr algn="l" fontAlgn="ctr"/>
                      <a:r>
                        <a:rPr lang="en-IN" sz="1600" b="0" i="0" u="none" strike="noStrike">
                          <a:solidFill>
                            <a:srgbClr val="FFFFFF"/>
                          </a:solidFill>
                          <a:effectLst/>
                          <a:latin typeface="+mn-lt"/>
                        </a:rPr>
                        <a:t>HO</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3494BA"/>
                    </a:solidFill>
                  </a:tcPr>
                </a:tc>
                <a:tc>
                  <a:txBody>
                    <a:bodyPr/>
                    <a:lstStyle/>
                    <a:p>
                      <a:pPr algn="l" fontAlgn="ctr"/>
                      <a:r>
                        <a:rPr lang="en-IN" sz="1600" b="0" i="0" u="none" strike="noStrike" dirty="0">
                          <a:solidFill>
                            <a:srgbClr val="000000"/>
                          </a:solidFill>
                          <a:effectLst/>
                          <a:latin typeface="+mn-lt"/>
                        </a:rPr>
                        <a:t>Home</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13441015"/>
                  </a:ext>
                </a:extLst>
              </a:tr>
              <a:tr h="315729">
                <a:tc>
                  <a:txBody>
                    <a:bodyPr/>
                    <a:lstStyle/>
                    <a:p>
                      <a:pPr algn="l" fontAlgn="ctr"/>
                      <a:r>
                        <a:rPr lang="en-IN" sz="1600" b="0" i="0" u="none" strike="noStrike">
                          <a:solidFill>
                            <a:srgbClr val="FFFFFF"/>
                          </a:solidFill>
                          <a:effectLst/>
                          <a:latin typeface="+mn-lt"/>
                        </a:rPr>
                        <a:t>ON</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3494BA"/>
                    </a:solidFill>
                  </a:tcPr>
                </a:tc>
                <a:tc>
                  <a:txBody>
                    <a:bodyPr/>
                    <a:lstStyle/>
                    <a:p>
                      <a:pPr algn="l" fontAlgn="ctr"/>
                      <a:r>
                        <a:rPr lang="en-IN" sz="1600" b="0" i="0" u="none" strike="noStrike" dirty="0">
                          <a:solidFill>
                            <a:srgbClr val="000000"/>
                          </a:solidFill>
                          <a:effectLst/>
                          <a:latin typeface="+mn-lt"/>
                        </a:rPr>
                        <a:t>Onsite/Office</a:t>
                      </a:r>
                    </a:p>
                  </a:txBody>
                  <a:tcPr marL="6350" marR="6350" marT="635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198113006"/>
                  </a:ext>
                </a:extLst>
              </a:tr>
            </a:tbl>
          </a:graphicData>
        </a:graphic>
      </p:graphicFrame>
      <p:sp>
        <p:nvSpPr>
          <p:cNvPr id="7" name="TextBox 6"/>
          <p:cNvSpPr txBox="1"/>
          <p:nvPr/>
        </p:nvSpPr>
        <p:spPr>
          <a:xfrm>
            <a:off x="8686800" y="1594178"/>
            <a:ext cx="2743200" cy="369332"/>
          </a:xfrm>
          <a:prstGeom prst="rect">
            <a:avLst/>
          </a:prstGeom>
          <a:noFill/>
          <a:ln>
            <a:solidFill>
              <a:schemeClr val="bg2">
                <a:lumMod val="90000"/>
              </a:schemeClr>
            </a:solidFill>
          </a:ln>
        </p:spPr>
        <p:txBody>
          <a:bodyPr wrap="square" rtlCol="0">
            <a:spAutoFit/>
          </a:bodyPr>
          <a:lstStyle/>
          <a:p>
            <a:r>
              <a:rPr lang="en-IN" b="1" dirty="0"/>
              <a:t>Please note the below</a:t>
            </a:r>
          </a:p>
        </p:txBody>
      </p:sp>
      <p:sp>
        <p:nvSpPr>
          <p:cNvPr id="11" name="スライド番号プレースホルダー 3">
            <a:extLst>
              <a:ext uri="{FF2B5EF4-FFF2-40B4-BE49-F238E27FC236}">
                <a16:creationId xmlns:a16="http://schemas.microsoft.com/office/drawing/2014/main" id="{5A8AD993-9BAF-5ED1-1C0B-FE398C81FD0C}"/>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42</a:t>
            </a:fld>
            <a:endParaRPr lang="ja-JP" altLang="en-US" dirty="0"/>
          </a:p>
        </p:txBody>
      </p:sp>
      <p:sp>
        <p:nvSpPr>
          <p:cNvPr id="12" name="フッター プレースホルダー 2">
            <a:extLst>
              <a:ext uri="{FF2B5EF4-FFF2-40B4-BE49-F238E27FC236}">
                <a16:creationId xmlns:a16="http://schemas.microsoft.com/office/drawing/2014/main" id="{90E31710-C531-146B-3E32-C53EBD86773E}"/>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0570260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8DFF745-ADF1-565B-4066-64E3804AD445}"/>
              </a:ext>
            </a:extLst>
          </p:cNvPr>
          <p:cNvSpPr txBox="1"/>
          <p:nvPr/>
        </p:nvSpPr>
        <p:spPr>
          <a:xfrm>
            <a:off x="419100" y="1115294"/>
            <a:ext cx="11270749"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ea typeface="Verdana"/>
            </a:endParaRPr>
          </a:p>
        </p:txBody>
      </p:sp>
      <p:sp>
        <p:nvSpPr>
          <p:cNvPr id="4" name="Title 3">
            <a:extLst>
              <a:ext uri="{FF2B5EF4-FFF2-40B4-BE49-F238E27FC236}">
                <a16:creationId xmlns:a16="http://schemas.microsoft.com/office/drawing/2014/main" id="{EC874F79-FA5B-79DA-84C6-8B79DE764DFE}"/>
              </a:ext>
            </a:extLst>
          </p:cNvPr>
          <p:cNvSpPr>
            <a:spLocks noGrp="1"/>
          </p:cNvSpPr>
          <p:nvPr>
            <p:ph type="title"/>
          </p:nvPr>
        </p:nvSpPr>
        <p:spPr/>
        <p:txBody>
          <a:bodyPr/>
          <a:lstStyle/>
          <a:p>
            <a:r>
              <a:rPr lang="en-US" dirty="0"/>
              <a:t>Non-Disclosure: Key Points</a:t>
            </a:r>
          </a:p>
        </p:txBody>
      </p:sp>
      <p:sp>
        <p:nvSpPr>
          <p:cNvPr id="6" name="TextBox 5">
            <a:extLst>
              <a:ext uri="{FF2B5EF4-FFF2-40B4-BE49-F238E27FC236}">
                <a16:creationId xmlns:a16="http://schemas.microsoft.com/office/drawing/2014/main" id="{49E97328-AA99-AB51-1286-C88F2FE8E826}"/>
              </a:ext>
            </a:extLst>
          </p:cNvPr>
          <p:cNvSpPr txBox="1"/>
          <p:nvPr/>
        </p:nvSpPr>
        <p:spPr>
          <a:xfrm>
            <a:off x="429126" y="814504"/>
            <a:ext cx="11180513" cy="5262979"/>
          </a:xfrm>
          <a:prstGeom prst="rect">
            <a:avLst/>
          </a:prstGeom>
          <a:noFill/>
          <a:ln>
            <a:noFill/>
          </a:ln>
        </p:spPr>
        <p:txBody>
          <a:bodyPr wrap="square" lIns="91440" tIns="45720" rIns="91440" bIns="45720" anchor="t">
            <a:spAutoFit/>
          </a:bodyPr>
          <a:lstStyle/>
          <a:p>
            <a:pPr marL="285750" indent="-285750">
              <a:buFont typeface="Arial"/>
              <a:buChar char="•"/>
              <a:defRPr/>
            </a:pPr>
            <a:endParaRPr lang="en-US" sz="1600" b="1" dirty="0">
              <a:ea typeface="Verdana"/>
            </a:endParaRPr>
          </a:p>
          <a:p>
            <a:pPr marL="285750" indent="-285750">
              <a:buFont typeface="Arial"/>
              <a:buChar char="•"/>
              <a:defRPr/>
            </a:pPr>
            <a:r>
              <a:rPr lang="en-US" sz="1600" b="1" dirty="0">
                <a:ea typeface="Verdana"/>
              </a:rPr>
              <a:t>Confidential Information</a:t>
            </a:r>
            <a:endParaRPr lang="en-US" dirty="0"/>
          </a:p>
          <a:p>
            <a:pPr marL="742950" lvl="1" indent="-285750">
              <a:buFont typeface="Arial"/>
              <a:buChar char="•"/>
              <a:defRPr/>
            </a:pPr>
            <a:r>
              <a:rPr lang="en-US" sz="1600" dirty="0">
                <a:ea typeface="Verdana"/>
              </a:rPr>
              <a:t>All documents and materials with respect to the project in any form (e.g., verbal, print, oral, electronic etc.) are referred to as confidential information.</a:t>
            </a:r>
          </a:p>
          <a:p>
            <a:pPr marL="742950" lvl="1" indent="-285750">
              <a:buFont typeface="Arial"/>
              <a:buChar char="•"/>
              <a:defRPr/>
            </a:pPr>
            <a:r>
              <a:rPr lang="en-US" sz="1600" dirty="0">
                <a:ea typeface="Verdana"/>
              </a:rPr>
              <a:t>All samples (product or document) are considered confidential information.</a:t>
            </a:r>
          </a:p>
          <a:p>
            <a:pPr marL="285750" indent="-285750">
              <a:buFont typeface="Arial"/>
              <a:buChar char="•"/>
              <a:defRPr/>
            </a:pPr>
            <a:r>
              <a:rPr lang="en-US" sz="1600" b="1" dirty="0">
                <a:ea typeface="Verdana"/>
              </a:rPr>
              <a:t>Confidentiality Obligations</a:t>
            </a:r>
            <a:r>
              <a:rPr lang="en-US" sz="1600" dirty="0">
                <a:ea typeface="Verdana"/>
              </a:rPr>
              <a:t> </a:t>
            </a:r>
          </a:p>
          <a:p>
            <a:pPr marL="742950" lvl="1" indent="-285750">
              <a:buFont typeface="Arial"/>
              <a:buChar char="•"/>
              <a:defRPr/>
            </a:pPr>
            <a:r>
              <a:rPr lang="en-US" sz="1600" dirty="0">
                <a:ea typeface="Verdana"/>
              </a:rPr>
              <a:t>The above are to be disclosed in a tangible form and marked 'confidential'.</a:t>
            </a:r>
            <a:endParaRPr lang="en-US" dirty="0"/>
          </a:p>
          <a:p>
            <a:pPr marL="742950" lvl="1" indent="-285750">
              <a:buFont typeface="Arial"/>
              <a:buChar char="•"/>
              <a:defRPr/>
            </a:pPr>
            <a:r>
              <a:rPr lang="en-US" sz="1600" dirty="0">
                <a:ea typeface="Verdana"/>
              </a:rPr>
              <a:t>The above are to be safe guarded and not used for any other external purpose.</a:t>
            </a:r>
          </a:p>
          <a:p>
            <a:pPr marL="742950" lvl="1" indent="-285750">
              <a:buFont typeface="Arial"/>
              <a:buChar char="•"/>
              <a:defRPr/>
            </a:pPr>
            <a:r>
              <a:rPr lang="en-US" sz="1600" dirty="0">
                <a:ea typeface="Verdana"/>
              </a:rPr>
              <a:t>The above can be disclosed only to own or affiliated companies which have the same legal obligations.</a:t>
            </a:r>
          </a:p>
          <a:p>
            <a:pPr marL="742950" lvl="1" indent="-285750">
              <a:buFont typeface="Arial"/>
              <a:buChar char="•"/>
              <a:defRPr/>
            </a:pPr>
            <a:r>
              <a:rPr lang="en-US" sz="1600" dirty="0">
                <a:ea typeface="Verdana"/>
              </a:rPr>
              <a:t>In case of mandatory disclosure, notice is to be provided and compliance is to be mutually waived off.</a:t>
            </a:r>
          </a:p>
          <a:p>
            <a:pPr marL="285750" indent="-285750">
              <a:buFont typeface="Arial"/>
              <a:buChar char="•"/>
              <a:defRPr/>
            </a:pPr>
            <a:r>
              <a:rPr lang="en-US" sz="1600" b="1" dirty="0">
                <a:ea typeface="Verdana"/>
              </a:rPr>
              <a:t>Exceptions to Confidential Information</a:t>
            </a:r>
          </a:p>
          <a:p>
            <a:pPr marL="742950" lvl="1" indent="-285750">
              <a:buFont typeface="Arial"/>
              <a:buChar char="•"/>
              <a:defRPr/>
            </a:pPr>
            <a:r>
              <a:rPr lang="en-US" sz="1600" dirty="0">
                <a:ea typeface="Verdana"/>
              </a:rPr>
              <a:t>Information already known and available in public domain.</a:t>
            </a:r>
          </a:p>
          <a:p>
            <a:pPr marL="742950" lvl="1" indent="-285750">
              <a:buFont typeface="Arial"/>
              <a:buChar char="•"/>
              <a:defRPr/>
            </a:pPr>
            <a:r>
              <a:rPr lang="en-US" sz="1600" dirty="0">
                <a:ea typeface="Verdana"/>
              </a:rPr>
              <a:t>Any material created without relevance to the project.</a:t>
            </a:r>
          </a:p>
          <a:p>
            <a:pPr marL="285750" indent="-285750">
              <a:buFont typeface="Arial"/>
              <a:buChar char="•"/>
              <a:defRPr/>
            </a:pPr>
            <a:r>
              <a:rPr lang="en-US" sz="1600" b="1" dirty="0">
                <a:ea typeface="Verdana"/>
              </a:rPr>
              <a:t>Termination</a:t>
            </a:r>
          </a:p>
          <a:p>
            <a:pPr marL="742950" lvl="1" indent="-285750">
              <a:buFont typeface="Arial"/>
              <a:buChar char="•"/>
              <a:defRPr/>
            </a:pPr>
            <a:r>
              <a:rPr lang="en-US" sz="1600" dirty="0">
                <a:ea typeface="Verdana"/>
              </a:rPr>
              <a:t>Five years after expiration of the agreement.</a:t>
            </a:r>
          </a:p>
          <a:p>
            <a:pPr marL="742950" lvl="1" indent="-285750">
              <a:buFont typeface="Arial"/>
              <a:buChar char="•"/>
              <a:defRPr/>
            </a:pPr>
            <a:r>
              <a:rPr lang="en-US" sz="1600" dirty="0">
                <a:ea typeface="Verdana"/>
              </a:rPr>
              <a:t>Mutually waived off with 30 days of notice.</a:t>
            </a:r>
          </a:p>
          <a:p>
            <a:pPr marL="285750" indent="-285750">
              <a:buFont typeface="Arial"/>
              <a:buChar char="•"/>
              <a:defRPr/>
            </a:pPr>
            <a:r>
              <a:rPr lang="en-US" sz="1600" b="1" dirty="0">
                <a:ea typeface="Verdana"/>
              </a:rPr>
              <a:t>Return / Destruction</a:t>
            </a:r>
          </a:p>
          <a:p>
            <a:pPr marL="742950" lvl="1" indent="-285750">
              <a:buFont typeface="Arial"/>
              <a:buChar char="•"/>
              <a:defRPr/>
            </a:pPr>
            <a:r>
              <a:rPr lang="en-US" sz="1600" dirty="0">
                <a:ea typeface="Verdana"/>
              </a:rPr>
              <a:t>All confidential information is property of the author company and can be returned or destructed as per them.</a:t>
            </a:r>
          </a:p>
          <a:p>
            <a:pPr marL="285750" indent="-285750">
              <a:buFont typeface="Arial"/>
              <a:buChar char="•"/>
              <a:defRPr/>
            </a:pPr>
            <a:r>
              <a:rPr lang="en-US" sz="1600" b="1" dirty="0">
                <a:ea typeface="Verdana"/>
              </a:rPr>
              <a:t>The disclosure of any Confidential Information cannot constitute any license, obligate any further agreement.</a:t>
            </a:r>
          </a:p>
          <a:p>
            <a:pPr marL="285750" indent="-285750">
              <a:buFont typeface="Arial"/>
              <a:buChar char="•"/>
              <a:defRPr/>
            </a:pPr>
            <a:r>
              <a:rPr lang="en-US" sz="1600" b="1" dirty="0">
                <a:ea typeface="Verdana"/>
              </a:rPr>
              <a:t>It is mutually agreed that there would be no exclusivity and no warranty.</a:t>
            </a:r>
          </a:p>
          <a:p>
            <a:pPr marL="285750" indent="-285750">
              <a:buFont typeface="Arial"/>
              <a:buChar char="•"/>
              <a:defRPr/>
            </a:pPr>
            <a:r>
              <a:rPr lang="en-US" sz="1600" b="1" dirty="0">
                <a:ea typeface="Verdana"/>
              </a:rPr>
              <a:t>Kindly refer to the agreement for further details. (Link in slide 36)</a:t>
            </a:r>
          </a:p>
        </p:txBody>
      </p:sp>
      <p:sp>
        <p:nvSpPr>
          <p:cNvPr id="7" name="スライド番号プレースホルダー 3">
            <a:extLst>
              <a:ext uri="{FF2B5EF4-FFF2-40B4-BE49-F238E27FC236}">
                <a16:creationId xmlns:a16="http://schemas.microsoft.com/office/drawing/2014/main" id="{7CC8DF9A-F51B-BE15-9403-905BE83A9A28}"/>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43</a:t>
            </a:fld>
            <a:endParaRPr lang="ja-JP" altLang="en-US" dirty="0"/>
          </a:p>
        </p:txBody>
      </p:sp>
      <p:sp>
        <p:nvSpPr>
          <p:cNvPr id="8" name="フッター プレースホルダー 2">
            <a:extLst>
              <a:ext uri="{FF2B5EF4-FFF2-40B4-BE49-F238E27FC236}">
                <a16:creationId xmlns:a16="http://schemas.microsoft.com/office/drawing/2014/main" id="{09C2A9C9-FD2C-85FD-342E-1991A9B8ED3E}"/>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501061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DBBA00AB-6FFC-BD40-C4CB-F703B86427A9}"/>
              </a:ext>
            </a:extLst>
          </p:cNvPr>
          <p:cNvSpPr/>
          <p:nvPr/>
        </p:nvSpPr>
        <p:spPr>
          <a:xfrm>
            <a:off x="594793" y="3663878"/>
            <a:ext cx="7555200" cy="1080000"/>
          </a:xfrm>
          <a:prstGeom prst="roundRect">
            <a:avLst>
              <a:gd name="adj" fmla="val 29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endParaRPr>
          </a:p>
        </p:txBody>
      </p:sp>
      <p:sp>
        <p:nvSpPr>
          <p:cNvPr id="7" name="四角形: 角を丸くする 6">
            <a:extLst>
              <a:ext uri="{FF2B5EF4-FFF2-40B4-BE49-F238E27FC236}">
                <a16:creationId xmlns:a16="http://schemas.microsoft.com/office/drawing/2014/main" id="{7C81391D-9DC0-FD0A-EC64-0F8A9FAFD86F}"/>
              </a:ext>
            </a:extLst>
          </p:cNvPr>
          <p:cNvSpPr/>
          <p:nvPr/>
        </p:nvSpPr>
        <p:spPr>
          <a:xfrm>
            <a:off x="594793" y="5120557"/>
            <a:ext cx="7555200" cy="1080000"/>
          </a:xfrm>
          <a:prstGeom prst="roundRect">
            <a:avLst>
              <a:gd name="adj" fmla="val 29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endParaRPr>
          </a:p>
        </p:txBody>
      </p:sp>
      <p:sp>
        <p:nvSpPr>
          <p:cNvPr id="86" name="四角形: 角を丸くする 85">
            <a:extLst>
              <a:ext uri="{FF2B5EF4-FFF2-40B4-BE49-F238E27FC236}">
                <a16:creationId xmlns:a16="http://schemas.microsoft.com/office/drawing/2014/main" id="{0E53E029-EBC9-FD22-6939-DDA2376E07D2}"/>
              </a:ext>
            </a:extLst>
          </p:cNvPr>
          <p:cNvSpPr/>
          <p:nvPr/>
        </p:nvSpPr>
        <p:spPr>
          <a:xfrm>
            <a:off x="594793" y="2180023"/>
            <a:ext cx="7584674" cy="1080000"/>
          </a:xfrm>
          <a:prstGeom prst="roundRect">
            <a:avLst>
              <a:gd name="adj" fmla="val 29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endParaRPr>
          </a:p>
        </p:txBody>
      </p:sp>
      <p:sp>
        <p:nvSpPr>
          <p:cNvPr id="4" name="タイトル 3">
            <a:extLst>
              <a:ext uri="{FF2B5EF4-FFF2-40B4-BE49-F238E27FC236}">
                <a16:creationId xmlns:a16="http://schemas.microsoft.com/office/drawing/2014/main" id="{3AEAD2EB-41C5-DECC-ADFB-B9D327A5B90C}"/>
              </a:ext>
            </a:extLst>
          </p:cNvPr>
          <p:cNvSpPr>
            <a:spLocks noGrp="1"/>
          </p:cNvSpPr>
          <p:nvPr>
            <p:ph type="title"/>
          </p:nvPr>
        </p:nvSpPr>
        <p:spPr/>
        <p:txBody>
          <a:bodyPr/>
          <a:lstStyle/>
          <a:p>
            <a:r>
              <a:rPr kumimoji="1" lang="en-US" altLang="ja-JP" dirty="0"/>
              <a:t>What’s Mone</a:t>
            </a:r>
            <a:r>
              <a:rPr kumimoji="1" lang="en-US" altLang="ja-JP" spc="130" dirty="0"/>
              <a:t>-</a:t>
            </a:r>
            <a:r>
              <a:rPr kumimoji="1" lang="en-US" altLang="ja-JP" dirty="0"/>
              <a:t>M</a:t>
            </a:r>
            <a:r>
              <a:rPr kumimoji="1" lang="en-US" altLang="ja-JP" spc="130" dirty="0"/>
              <a:t>/G/J</a:t>
            </a:r>
            <a:r>
              <a:rPr kumimoji="1" lang="en-US" altLang="ja-JP" dirty="0"/>
              <a:t>?</a:t>
            </a:r>
            <a:endParaRPr kumimoji="1" lang="ja-JP" altLang="en-US" dirty="0"/>
          </a:p>
        </p:txBody>
      </p:sp>
      <p:sp>
        <p:nvSpPr>
          <p:cNvPr id="2" name="スライド番号プレースホルダー 1">
            <a:extLst>
              <a:ext uri="{FF2B5EF4-FFF2-40B4-BE49-F238E27FC236}">
                <a16:creationId xmlns:a16="http://schemas.microsoft.com/office/drawing/2014/main" id="{D4A67BB6-EC9D-61D2-83B6-62F67415BF8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3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1" lang="ja-JP" altLang="en-US" sz="113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3" name="フッター プレースホルダー 2">
            <a:extLst>
              <a:ext uri="{FF2B5EF4-FFF2-40B4-BE49-F238E27FC236}">
                <a16:creationId xmlns:a16="http://schemas.microsoft.com/office/drawing/2014/main" id="{5ED72288-2888-0EBB-C664-ADF44E9A07C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6" name="テキスト プレースホルダー 3">
            <a:extLst>
              <a:ext uri="{FF2B5EF4-FFF2-40B4-BE49-F238E27FC236}">
                <a16:creationId xmlns:a16="http://schemas.microsoft.com/office/drawing/2014/main" id="{4D2AE72B-5FBC-6FA5-E023-A01774109423}"/>
              </a:ext>
            </a:extLst>
          </p:cNvPr>
          <p:cNvSpPr txBox="1">
            <a:spLocks/>
          </p:cNvSpPr>
          <p:nvPr/>
        </p:nvSpPr>
        <p:spPr>
          <a:xfrm>
            <a:off x="347488" y="992674"/>
            <a:ext cx="11354985" cy="836126"/>
          </a:xfrm>
          <a:prstGeom prst="rect">
            <a:avLst/>
          </a:prstGeom>
        </p:spPr>
        <p:txBody>
          <a:bodyPr wrap="square">
            <a:spAutoFit/>
          </a:bodyPr>
          <a:lstStyle>
            <a:lvl1pPr marL="0" indent="0" algn="l" defTabSz="914400" rtl="0" eaLnBrk="1" latinLnBrk="0" hangingPunct="1">
              <a:lnSpc>
                <a:spcPct val="100000"/>
              </a:lnSpc>
              <a:spcBef>
                <a:spcPts val="1000"/>
              </a:spcBef>
              <a:buFont typeface="Arial" panose="020B0604020202020204" pitchFamily="34" charset="0"/>
              <a:buNone/>
              <a:defRPr kumimoji="1" sz="2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22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8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0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1" lang="en-US" altLang="ja-JP" sz="16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The project name “Mone” stands for “</a:t>
            </a:r>
            <a:r>
              <a:rPr kumimoji="1" lang="en-US" altLang="ja-JP" sz="2400" b="1" i="0" u="none" strike="noStrike" kern="1200" cap="none" spc="100" normalizeH="0" baseline="0" noProof="0" dirty="0">
                <a:ln>
                  <a:noFill/>
                </a:ln>
                <a:solidFill>
                  <a:srgbClr val="003F7E"/>
                </a:solidFill>
                <a:effectLst>
                  <a:outerShdw blurRad="50800" dist="38100" algn="l" rotWithShape="0">
                    <a:srgbClr val="005BAB">
                      <a:alpha val="40000"/>
                    </a:srgbClr>
                  </a:outerShdw>
                </a:effectLst>
                <a:uLnTx/>
                <a:uFillTx/>
                <a:latin typeface="Arial"/>
                <a:ea typeface="游ゴシック Medium"/>
                <a:cs typeface="+mn-cs"/>
              </a:rPr>
              <a:t>M</a:t>
            </a:r>
            <a:r>
              <a:rPr kumimoji="1" lang="en-US" altLang="ja-JP" sz="1600" b="0" i="0" u="none" strike="noStrike" kern="1200" cap="none" spc="100" normalizeH="0" baseline="0" noProof="0" dirty="0">
                <a:ln>
                  <a:noFill/>
                </a:ln>
                <a:solidFill>
                  <a:srgbClr val="000000">
                    <a:lumMod val="75000"/>
                    <a:lumOff val="25000"/>
                  </a:srgbClr>
                </a:solidFill>
                <a:effectLst/>
                <a:uLnTx/>
                <a:uFillTx/>
                <a:latin typeface="Arial"/>
                <a:ea typeface="游ゴシック Medium"/>
                <a:cs typeface="+mn-cs"/>
              </a:rPr>
              <a:t>itsubishi</a:t>
            </a: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6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chemical group </a:t>
            </a:r>
            <a:r>
              <a:rPr kumimoji="1" lang="en-US" altLang="ja-JP" sz="2400" b="1" i="0" u="none" strike="noStrike" kern="1200" cap="none" spc="0" normalizeH="0" baseline="0" noProof="0" dirty="0">
                <a:ln>
                  <a:noFill/>
                </a:ln>
                <a:solidFill>
                  <a:srgbClr val="003F7E"/>
                </a:solidFill>
                <a:effectLst>
                  <a:outerShdw blurRad="50800" dist="38100" algn="l" rotWithShape="0">
                    <a:srgbClr val="005BAB">
                      <a:alpha val="40000"/>
                    </a:srgbClr>
                  </a:outerShdw>
                </a:effectLst>
                <a:uLnTx/>
                <a:uFillTx/>
                <a:latin typeface="Arial"/>
                <a:ea typeface="游ゴシック Medium"/>
                <a:cs typeface="+mn-cs"/>
              </a:rPr>
              <a:t>ONE</a:t>
            </a: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6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ERP platform”.</a:t>
            </a:r>
          </a:p>
          <a:p>
            <a:pPr marL="285750" marR="0" lvl="0" indent="-28575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1" lang="en-GB" altLang="ja-JP" sz="16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Mone brings one common template to MCG group which </a:t>
            </a:r>
            <a:r>
              <a:rPr kumimoji="1" lang="en-US" altLang="ja-JP" sz="16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will be sequentially deployed as shown below.</a:t>
            </a:r>
          </a:p>
        </p:txBody>
      </p:sp>
      <p:sp>
        <p:nvSpPr>
          <p:cNvPr id="31" name="矢印: 五方向 30">
            <a:extLst>
              <a:ext uri="{FF2B5EF4-FFF2-40B4-BE49-F238E27FC236}">
                <a16:creationId xmlns:a16="http://schemas.microsoft.com/office/drawing/2014/main" id="{6E59CB1F-7624-9A7A-73AF-3608E1374353}"/>
              </a:ext>
            </a:extLst>
          </p:cNvPr>
          <p:cNvSpPr/>
          <p:nvPr/>
        </p:nvSpPr>
        <p:spPr>
          <a:xfrm>
            <a:off x="2993331" y="2540023"/>
            <a:ext cx="1454363" cy="360000"/>
          </a:xfrm>
          <a:prstGeom prst="homePlate">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Mone-M</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64" name="矢印: 五方向 63">
            <a:extLst>
              <a:ext uri="{FF2B5EF4-FFF2-40B4-BE49-F238E27FC236}">
                <a16:creationId xmlns:a16="http://schemas.microsoft.com/office/drawing/2014/main" id="{BF41331B-1781-ABBB-5094-272030AE76DD}"/>
              </a:ext>
            </a:extLst>
          </p:cNvPr>
          <p:cNvSpPr/>
          <p:nvPr/>
        </p:nvSpPr>
        <p:spPr>
          <a:xfrm>
            <a:off x="6439748" y="5480557"/>
            <a:ext cx="1710246" cy="360000"/>
          </a:xfrm>
          <a:prstGeom prst="homePlate">
            <a:avLst/>
          </a:prstGeom>
          <a:gradFill flip="none" rotWithShape="1">
            <a:gsLst>
              <a:gs pos="4000">
                <a:schemeClr val="accent2">
                  <a:lumMod val="67000"/>
                </a:schemeClr>
              </a:gs>
              <a:gs pos="48000">
                <a:schemeClr val="accent2">
                  <a:lumMod val="97000"/>
                  <a:lumOff val="3000"/>
                </a:schemeClr>
              </a:gs>
              <a:gs pos="100000">
                <a:schemeClr val="accent2">
                  <a:lumMod val="60000"/>
                  <a:lumOff val="4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Mone-J</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65" name="矢印: 五方向 64">
            <a:extLst>
              <a:ext uri="{FF2B5EF4-FFF2-40B4-BE49-F238E27FC236}">
                <a16:creationId xmlns:a16="http://schemas.microsoft.com/office/drawing/2014/main" id="{843E603A-CA5C-8710-FAD8-860B7149A8CE}"/>
              </a:ext>
            </a:extLst>
          </p:cNvPr>
          <p:cNvSpPr/>
          <p:nvPr/>
        </p:nvSpPr>
        <p:spPr>
          <a:xfrm>
            <a:off x="3962563" y="4023878"/>
            <a:ext cx="2412085" cy="360000"/>
          </a:xfrm>
          <a:prstGeom prst="homePlate">
            <a:avLst/>
          </a:prstGeom>
          <a:gradFill flip="none" rotWithShape="1">
            <a:gsLst>
              <a:gs pos="4000">
                <a:schemeClr val="accent2">
                  <a:lumMod val="67000"/>
                </a:schemeClr>
              </a:gs>
              <a:gs pos="48000">
                <a:schemeClr val="accent2">
                  <a:lumMod val="97000"/>
                  <a:lumOff val="3000"/>
                </a:schemeClr>
              </a:gs>
              <a:gs pos="100000">
                <a:schemeClr val="accent2">
                  <a:lumMod val="60000"/>
                  <a:lumOff val="4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Mone-G</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73" name="矢印: 五方向 72">
            <a:extLst>
              <a:ext uri="{FF2B5EF4-FFF2-40B4-BE49-F238E27FC236}">
                <a16:creationId xmlns:a16="http://schemas.microsoft.com/office/drawing/2014/main" id="{4E5AA631-490A-90DD-464D-215654515404}"/>
              </a:ext>
            </a:extLst>
          </p:cNvPr>
          <p:cNvSpPr/>
          <p:nvPr/>
        </p:nvSpPr>
        <p:spPr>
          <a:xfrm>
            <a:off x="6844665" y="2540023"/>
            <a:ext cx="980577" cy="360000"/>
          </a:xfrm>
          <a:prstGeom prst="homePlate">
            <a:avLst/>
          </a:prstGeom>
          <a:gradFill flip="none" rotWithShape="1">
            <a:gsLst>
              <a:gs pos="4000">
                <a:schemeClr val="accent2">
                  <a:lumMod val="67000"/>
                </a:schemeClr>
              </a:gs>
              <a:gs pos="48000">
                <a:schemeClr val="accent2">
                  <a:lumMod val="97000"/>
                  <a:lumOff val="3000"/>
                </a:schemeClr>
              </a:gs>
              <a:gs pos="100000">
                <a:schemeClr val="accent2">
                  <a:lumMod val="60000"/>
                  <a:lumOff val="4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Mone-J</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78" name="矢印: 山形 77">
            <a:extLst>
              <a:ext uri="{FF2B5EF4-FFF2-40B4-BE49-F238E27FC236}">
                <a16:creationId xmlns:a16="http://schemas.microsoft.com/office/drawing/2014/main" id="{3C200E20-7AF6-804A-3C56-AB6C1C3DE59C}"/>
              </a:ext>
            </a:extLst>
          </p:cNvPr>
          <p:cNvSpPr/>
          <p:nvPr/>
        </p:nvSpPr>
        <p:spPr>
          <a:xfrm>
            <a:off x="4361817" y="2540023"/>
            <a:ext cx="475745" cy="360000"/>
          </a:xfrm>
          <a:prstGeom prst="chevron">
            <a:avLst/>
          </a:prstGeom>
          <a:noFill/>
          <a:ln>
            <a:solidFill>
              <a:schemeClr val="bg1">
                <a:lumMod val="50000"/>
              </a:schemeClr>
            </a:solidFill>
            <a:prstDash val="dash"/>
          </a:ln>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79" name="矢印: 山形 78">
            <a:extLst>
              <a:ext uri="{FF2B5EF4-FFF2-40B4-BE49-F238E27FC236}">
                <a16:creationId xmlns:a16="http://schemas.microsoft.com/office/drawing/2014/main" id="{88A01D96-4E01-25BB-F4BB-931D6D9DEED8}"/>
              </a:ext>
            </a:extLst>
          </p:cNvPr>
          <p:cNvSpPr/>
          <p:nvPr/>
        </p:nvSpPr>
        <p:spPr>
          <a:xfrm>
            <a:off x="4738564" y="2540023"/>
            <a:ext cx="1299096" cy="360000"/>
          </a:xfrm>
          <a:prstGeom prst="chevr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Mone-M</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90" name="テキスト ボックス 89">
            <a:extLst>
              <a:ext uri="{FF2B5EF4-FFF2-40B4-BE49-F238E27FC236}">
                <a16:creationId xmlns:a16="http://schemas.microsoft.com/office/drawing/2014/main" id="{46BEF6B0-E812-1830-8750-3055882235FF}"/>
              </a:ext>
            </a:extLst>
          </p:cNvPr>
          <p:cNvSpPr txBox="1"/>
          <p:nvPr/>
        </p:nvSpPr>
        <p:spPr>
          <a:xfrm>
            <a:off x="4372365" y="1822226"/>
            <a:ext cx="725357" cy="320677"/>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Now</a:t>
            </a:r>
            <a:endParaRPr kumimoji="1" lang="ja-JP" altLang="en-US" sz="1400" b="0" i="0" u="none" strike="noStrike" kern="1200" cap="none" spc="0" normalizeH="0" baseline="0" noProof="0" dirty="0" err="1">
              <a:ln>
                <a:noFill/>
              </a:ln>
              <a:solidFill>
                <a:srgbClr val="003F7E"/>
              </a:solidFill>
              <a:effectLst/>
              <a:uLnTx/>
              <a:uFillTx/>
              <a:latin typeface="Arial"/>
              <a:ea typeface="游ゴシック Medium"/>
              <a:cs typeface="+mn-cs"/>
            </a:endParaRPr>
          </a:p>
        </p:txBody>
      </p:sp>
      <p:cxnSp>
        <p:nvCxnSpPr>
          <p:cNvPr id="93" name="Straight Connector 54">
            <a:extLst>
              <a:ext uri="{FF2B5EF4-FFF2-40B4-BE49-F238E27FC236}">
                <a16:creationId xmlns:a16="http://schemas.microsoft.com/office/drawing/2014/main" id="{BD581260-9F88-B2E1-557B-815E302E6321}"/>
              </a:ext>
            </a:extLst>
          </p:cNvPr>
          <p:cNvCxnSpPr>
            <a:cxnSpLocks/>
          </p:cNvCxnSpPr>
          <p:nvPr/>
        </p:nvCxnSpPr>
        <p:spPr>
          <a:xfrm>
            <a:off x="6392404" y="2105011"/>
            <a:ext cx="0" cy="403200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94" name="テキスト ボックス 93">
            <a:extLst>
              <a:ext uri="{FF2B5EF4-FFF2-40B4-BE49-F238E27FC236}">
                <a16:creationId xmlns:a16="http://schemas.microsoft.com/office/drawing/2014/main" id="{3CB6FCBD-EAFD-D1CB-968E-67B5C46C1C63}"/>
              </a:ext>
            </a:extLst>
          </p:cNvPr>
          <p:cNvSpPr txBox="1"/>
          <p:nvPr/>
        </p:nvSpPr>
        <p:spPr>
          <a:xfrm>
            <a:off x="6298873" y="1801043"/>
            <a:ext cx="2631220" cy="307567"/>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Mone-G adaption</a:t>
            </a:r>
            <a:r>
              <a:rPr kumimoji="1" lang="ja-JP" altLang="en-US" sz="1400" b="0" i="0" u="none" strike="noStrike" kern="1200" cap="none" spc="0" normalizeH="0" baseline="0" noProof="0" dirty="0">
                <a:ln>
                  <a:noFill/>
                </a:ln>
                <a:solidFill>
                  <a:srgbClr val="003F7E"/>
                </a:solidFill>
                <a:effectLst/>
                <a:uLnTx/>
                <a:uFillTx/>
                <a:latin typeface="Arial"/>
                <a:ea typeface="游ゴシック Medium"/>
                <a:cs typeface="+mn-cs"/>
              </a:rPr>
              <a:t> </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to</a:t>
            </a:r>
            <a:r>
              <a:rPr kumimoji="1" lang="ja-JP" altLang="en-US" sz="1400" b="0" i="0" u="none" strike="noStrike" kern="1200" cap="none" spc="0" normalizeH="0" baseline="0" noProof="0" dirty="0">
                <a:ln>
                  <a:noFill/>
                </a:ln>
                <a:solidFill>
                  <a:srgbClr val="003F7E"/>
                </a:solidFill>
                <a:effectLst/>
                <a:uLnTx/>
                <a:uFillTx/>
                <a:latin typeface="Arial"/>
                <a:ea typeface="游ゴシック Medium"/>
                <a:cs typeface="+mn-cs"/>
              </a:rPr>
              <a:t> </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Japan</a:t>
            </a:r>
            <a:endParaRPr kumimoji="1" lang="ja-JP" altLang="en-US" sz="1400" b="0" i="0" u="none" strike="noStrike" kern="1200" cap="none" spc="0" normalizeH="0" baseline="0" noProof="0" dirty="0" err="1">
              <a:ln>
                <a:noFill/>
              </a:ln>
              <a:solidFill>
                <a:srgbClr val="003F7E"/>
              </a:solidFill>
              <a:effectLst/>
              <a:uLnTx/>
              <a:uFillTx/>
              <a:latin typeface="Arial"/>
              <a:ea typeface="游ゴシック Medium"/>
              <a:cs typeface="+mn-cs"/>
            </a:endParaRPr>
          </a:p>
        </p:txBody>
      </p:sp>
      <p:sp>
        <p:nvSpPr>
          <p:cNvPr id="95" name="楕円 94">
            <a:extLst>
              <a:ext uri="{FF2B5EF4-FFF2-40B4-BE49-F238E27FC236}">
                <a16:creationId xmlns:a16="http://schemas.microsoft.com/office/drawing/2014/main" id="{09D6486A-C5F4-FCBB-3962-5E88375823B9}"/>
              </a:ext>
            </a:extLst>
          </p:cNvPr>
          <p:cNvSpPr/>
          <p:nvPr/>
        </p:nvSpPr>
        <p:spPr>
          <a:xfrm>
            <a:off x="1069260" y="2270023"/>
            <a:ext cx="900000" cy="900000"/>
          </a:xfrm>
          <a:prstGeom prst="ellipse">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800" b="1" i="0" u="none" strike="noStrike" kern="1200" cap="none" spc="0" normalizeH="0" baseline="0" noProof="0" dirty="0">
                <a:ln>
                  <a:noFill/>
                </a:ln>
                <a:solidFill>
                  <a:srgbClr val="FFFFFF"/>
                </a:solidFill>
                <a:effectLst/>
                <a:uLnTx/>
                <a:uFillTx/>
                <a:latin typeface="Arial"/>
                <a:ea typeface="游ゴシック Medium"/>
                <a:cs typeface="+mn-cs"/>
              </a:rPr>
              <a:t>M</a:t>
            </a:r>
            <a:endParaRPr kumimoji="1" lang="ja-JP" altLang="en-US" sz="2800" b="1"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96" name="楕円 95">
            <a:extLst>
              <a:ext uri="{FF2B5EF4-FFF2-40B4-BE49-F238E27FC236}">
                <a16:creationId xmlns:a16="http://schemas.microsoft.com/office/drawing/2014/main" id="{C40EF2E2-E287-3400-C64B-9BD8AED41347}"/>
              </a:ext>
            </a:extLst>
          </p:cNvPr>
          <p:cNvSpPr/>
          <p:nvPr/>
        </p:nvSpPr>
        <p:spPr>
          <a:xfrm>
            <a:off x="1069260" y="5210557"/>
            <a:ext cx="900000" cy="900000"/>
          </a:xfrm>
          <a:prstGeom prst="ellipse">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800" b="1" i="0" u="none" strike="noStrike" kern="1200" cap="none" spc="0" normalizeH="0" baseline="0" noProof="0" dirty="0">
                <a:ln>
                  <a:noFill/>
                </a:ln>
                <a:solidFill>
                  <a:srgbClr val="FFFFFF"/>
                </a:solidFill>
                <a:effectLst/>
                <a:uLnTx/>
                <a:uFillTx/>
                <a:latin typeface="Arial"/>
                <a:ea typeface="游ゴシック Medium"/>
                <a:cs typeface="+mn-cs"/>
              </a:rPr>
              <a:t>J</a:t>
            </a:r>
            <a:endParaRPr kumimoji="1" lang="ja-JP" altLang="en-US" sz="2800" b="1"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97" name="楕円 96">
            <a:extLst>
              <a:ext uri="{FF2B5EF4-FFF2-40B4-BE49-F238E27FC236}">
                <a16:creationId xmlns:a16="http://schemas.microsoft.com/office/drawing/2014/main" id="{4C348C90-69AD-6700-9AF1-E8AF5CE2F74B}"/>
              </a:ext>
            </a:extLst>
          </p:cNvPr>
          <p:cNvSpPr/>
          <p:nvPr/>
        </p:nvSpPr>
        <p:spPr>
          <a:xfrm>
            <a:off x="1069260" y="3753878"/>
            <a:ext cx="900000" cy="900000"/>
          </a:xfrm>
          <a:prstGeom prst="ellipse">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800" b="1" i="0" u="none" strike="noStrike" kern="1200" cap="none" spc="0" normalizeH="0" baseline="0" noProof="0" dirty="0">
                <a:ln>
                  <a:noFill/>
                </a:ln>
                <a:solidFill>
                  <a:srgbClr val="FFFFFF"/>
                </a:solidFill>
                <a:effectLst/>
                <a:uLnTx/>
                <a:uFillTx/>
                <a:latin typeface="Arial"/>
                <a:ea typeface="游ゴシック Medium"/>
                <a:cs typeface="+mn-cs"/>
              </a:rPr>
              <a:t>G</a:t>
            </a:r>
            <a:endParaRPr kumimoji="1" lang="ja-JP" altLang="en-US" sz="2800" b="1" i="0" u="none" strike="noStrike" kern="1200" cap="none" spc="0" normalizeH="0" baseline="0" noProof="0" dirty="0">
              <a:ln>
                <a:noFill/>
              </a:ln>
              <a:solidFill>
                <a:srgbClr val="FFFFFF"/>
              </a:solidFill>
              <a:effectLst/>
              <a:uLnTx/>
              <a:uFillTx/>
              <a:latin typeface="Arial"/>
              <a:ea typeface="游ゴシック Medium"/>
              <a:cs typeface="+mn-cs"/>
            </a:endParaRPr>
          </a:p>
        </p:txBody>
      </p:sp>
      <p:grpSp>
        <p:nvGrpSpPr>
          <p:cNvPr id="12" name="グループ化 11">
            <a:extLst>
              <a:ext uri="{FF2B5EF4-FFF2-40B4-BE49-F238E27FC236}">
                <a16:creationId xmlns:a16="http://schemas.microsoft.com/office/drawing/2014/main" id="{79523289-9E83-CF89-7311-F710651AECD5}"/>
              </a:ext>
            </a:extLst>
          </p:cNvPr>
          <p:cNvGrpSpPr/>
          <p:nvPr/>
        </p:nvGrpSpPr>
        <p:grpSpPr>
          <a:xfrm>
            <a:off x="1955902" y="2429383"/>
            <a:ext cx="612678" cy="628003"/>
            <a:chOff x="2506324" y="2686675"/>
            <a:chExt cx="725367" cy="725367"/>
          </a:xfrm>
        </p:grpSpPr>
        <p:pic>
          <p:nvPicPr>
            <p:cNvPr id="103" name="グラフィックス 102" descr="建物 単色塗りつぶし">
              <a:extLst>
                <a:ext uri="{FF2B5EF4-FFF2-40B4-BE49-F238E27FC236}">
                  <a16:creationId xmlns:a16="http://schemas.microsoft.com/office/drawing/2014/main" id="{2407F5B8-57A9-501A-BA7A-12A411AED3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11124" y="2991475"/>
              <a:ext cx="420567" cy="420567"/>
            </a:xfrm>
            <a:prstGeom prst="rect">
              <a:avLst/>
            </a:prstGeom>
          </p:spPr>
        </p:pic>
        <p:grpSp>
          <p:nvGrpSpPr>
            <p:cNvPr id="11" name="グループ化 10">
              <a:extLst>
                <a:ext uri="{FF2B5EF4-FFF2-40B4-BE49-F238E27FC236}">
                  <a16:creationId xmlns:a16="http://schemas.microsoft.com/office/drawing/2014/main" id="{A1BB8DC1-C62C-81D0-9745-89CF4B0692C5}"/>
                </a:ext>
              </a:extLst>
            </p:cNvPr>
            <p:cNvGrpSpPr/>
            <p:nvPr/>
          </p:nvGrpSpPr>
          <p:grpSpPr>
            <a:xfrm>
              <a:off x="2506324" y="2686675"/>
              <a:ext cx="591439" cy="591439"/>
              <a:chOff x="2506324" y="2686675"/>
              <a:chExt cx="591439" cy="591439"/>
            </a:xfrm>
          </p:grpSpPr>
          <p:pic>
            <p:nvPicPr>
              <p:cNvPr id="99" name="グラフィックス 98" descr="建物 単色塗りつぶし">
                <a:extLst>
                  <a:ext uri="{FF2B5EF4-FFF2-40B4-BE49-F238E27FC236}">
                    <a16:creationId xmlns:a16="http://schemas.microsoft.com/office/drawing/2014/main" id="{19C8011D-663A-6727-C9FB-4C59F89CF6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06324" y="2686675"/>
                <a:ext cx="420567" cy="420567"/>
              </a:xfrm>
              <a:prstGeom prst="rect">
                <a:avLst/>
              </a:prstGeom>
            </p:spPr>
          </p:pic>
          <p:pic>
            <p:nvPicPr>
              <p:cNvPr id="102" name="グラフィックス 101" descr="建物 単色塗りつぶし">
                <a:extLst>
                  <a:ext uri="{FF2B5EF4-FFF2-40B4-BE49-F238E27FC236}">
                    <a16:creationId xmlns:a16="http://schemas.microsoft.com/office/drawing/2014/main" id="{8FEE75E1-393B-E6B0-F8FE-60D1FC206B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77196" y="2857547"/>
                <a:ext cx="420567" cy="420567"/>
              </a:xfrm>
              <a:prstGeom prst="rect">
                <a:avLst/>
              </a:prstGeom>
            </p:spPr>
          </p:pic>
        </p:grpSp>
      </p:grpSp>
      <p:pic>
        <p:nvPicPr>
          <p:cNvPr id="110" name="グラフィックス 109" descr="地球: 南北アメリカ 単色塗りつぶし">
            <a:extLst>
              <a:ext uri="{FF2B5EF4-FFF2-40B4-BE49-F238E27FC236}">
                <a16:creationId xmlns:a16="http://schemas.microsoft.com/office/drawing/2014/main" id="{69D7B8CB-6D5B-1CD9-C269-6EB50110F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76404" y="3890884"/>
            <a:ext cx="574016" cy="574016"/>
          </a:xfrm>
          <a:prstGeom prst="rect">
            <a:avLst/>
          </a:prstGeom>
        </p:spPr>
      </p:pic>
      <p:pic>
        <p:nvPicPr>
          <p:cNvPr id="116" name="グラフィックス 115" descr="着物 単色塗りつぶし">
            <a:extLst>
              <a:ext uri="{FF2B5EF4-FFF2-40B4-BE49-F238E27FC236}">
                <a16:creationId xmlns:a16="http://schemas.microsoft.com/office/drawing/2014/main" id="{06C4B9C9-5D26-D46A-9BA6-B6C0610DAD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43006" y="5383939"/>
            <a:ext cx="491273" cy="491273"/>
          </a:xfrm>
          <a:prstGeom prst="rect">
            <a:avLst/>
          </a:prstGeom>
        </p:spPr>
      </p:pic>
      <p:pic>
        <p:nvPicPr>
          <p:cNvPr id="118" name="グラフィックス 117" descr="さくら 単色塗りつぶし">
            <a:extLst>
              <a:ext uri="{FF2B5EF4-FFF2-40B4-BE49-F238E27FC236}">
                <a16:creationId xmlns:a16="http://schemas.microsoft.com/office/drawing/2014/main" id="{86BD36E1-9A0A-9610-459F-132CB81A70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05123" y="5473680"/>
            <a:ext cx="535544" cy="535544"/>
          </a:xfrm>
          <a:prstGeom prst="rect">
            <a:avLst/>
          </a:prstGeom>
        </p:spPr>
      </p:pic>
      <p:sp>
        <p:nvSpPr>
          <p:cNvPr id="126" name="テキスト ボックス 125">
            <a:extLst>
              <a:ext uri="{FF2B5EF4-FFF2-40B4-BE49-F238E27FC236}">
                <a16:creationId xmlns:a16="http://schemas.microsoft.com/office/drawing/2014/main" id="{36AB08C1-D5C0-7210-6BBD-DD73BB740260}"/>
              </a:ext>
            </a:extLst>
          </p:cNvPr>
          <p:cNvSpPr txBox="1"/>
          <p:nvPr/>
        </p:nvSpPr>
        <p:spPr>
          <a:xfrm>
            <a:off x="594791" y="1889980"/>
            <a:ext cx="3667476" cy="301434"/>
          </a:xfrm>
          <a:prstGeom prst="rect">
            <a:avLst/>
          </a:prstGeom>
          <a:solidFill>
            <a:schemeClr val="accent6">
              <a:lumMod val="20000"/>
              <a:lumOff val="80000"/>
            </a:schemeClr>
          </a:solid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3F7E"/>
                </a:solidFill>
                <a:effectLst/>
                <a:uLnTx/>
                <a:uFillTx/>
                <a:latin typeface="Arial"/>
                <a:ea typeface="游ゴシック Medium"/>
                <a:cs typeface="+mn-cs"/>
              </a:rPr>
              <a:t>  MCC integration (Former MCC+MRC+MPI)</a:t>
            </a:r>
            <a:endParaRPr kumimoji="1" lang="ja-JP" altLang="en-US" sz="1200" b="1" i="0" u="none" strike="noStrike" kern="1200" cap="none" spc="0" normalizeH="0" baseline="0" noProof="0" dirty="0" err="1">
              <a:ln>
                <a:noFill/>
              </a:ln>
              <a:solidFill>
                <a:srgbClr val="003F7E"/>
              </a:solidFill>
              <a:effectLst/>
              <a:uLnTx/>
              <a:uFillTx/>
              <a:latin typeface="Arial"/>
              <a:ea typeface="游ゴシック Medium"/>
              <a:cs typeface="+mn-cs"/>
            </a:endParaRPr>
          </a:p>
        </p:txBody>
      </p:sp>
      <p:sp>
        <p:nvSpPr>
          <p:cNvPr id="127" name="テキスト ボックス 126">
            <a:extLst>
              <a:ext uri="{FF2B5EF4-FFF2-40B4-BE49-F238E27FC236}">
                <a16:creationId xmlns:a16="http://schemas.microsoft.com/office/drawing/2014/main" id="{7E4352E4-9DFA-1376-8380-200BAEDB54D4}"/>
              </a:ext>
            </a:extLst>
          </p:cNvPr>
          <p:cNvSpPr txBox="1"/>
          <p:nvPr/>
        </p:nvSpPr>
        <p:spPr>
          <a:xfrm>
            <a:off x="594791" y="3372159"/>
            <a:ext cx="3680924" cy="301434"/>
          </a:xfrm>
          <a:prstGeom prst="rect">
            <a:avLst/>
          </a:prstGeom>
          <a:solidFill>
            <a:schemeClr val="accent6">
              <a:lumMod val="20000"/>
              <a:lumOff val="80000"/>
            </a:schemeClr>
          </a:solidFill>
        </p:spPr>
        <p:txBody>
          <a:bodyPr wrap="square" lIns="0" tIns="72000" rIns="234000" bIns="0" rtlCol="0" anchor="t" anchorCtr="0">
            <a:noAutofit/>
          </a:bodyPr>
          <a:lstStyle>
            <a:defPPr>
              <a:defRPr lang="ja-JP"/>
            </a:defPPr>
            <a:lvl1pPr algn="ctr">
              <a:defRPr sz="12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3F7E"/>
                </a:solidFill>
                <a:effectLst/>
                <a:uLnTx/>
                <a:uFillTx/>
                <a:latin typeface="Arial"/>
                <a:ea typeface="游ゴシック Medium"/>
                <a:cs typeface="+mn-cs"/>
              </a:rPr>
              <a:t>  Global group companies outside of Japan</a:t>
            </a:r>
            <a:endParaRPr kumimoji="1" lang="ja-JP" altLang="en-US" sz="1200" b="1" i="0" u="none" strike="noStrike" kern="1200" cap="none" spc="0" normalizeH="0" baseline="0" noProof="0" dirty="0" err="1">
              <a:ln>
                <a:noFill/>
              </a:ln>
              <a:solidFill>
                <a:srgbClr val="003F7E"/>
              </a:solidFill>
              <a:effectLst/>
              <a:uLnTx/>
              <a:uFillTx/>
              <a:latin typeface="Arial"/>
              <a:ea typeface="游ゴシック Medium"/>
              <a:cs typeface="+mn-cs"/>
            </a:endParaRPr>
          </a:p>
        </p:txBody>
      </p:sp>
      <p:sp>
        <p:nvSpPr>
          <p:cNvPr id="128" name="テキスト ボックス 127">
            <a:extLst>
              <a:ext uri="{FF2B5EF4-FFF2-40B4-BE49-F238E27FC236}">
                <a16:creationId xmlns:a16="http://schemas.microsoft.com/office/drawing/2014/main" id="{149B2512-B58A-5160-DCC6-EC0E5DB21D3E}"/>
              </a:ext>
            </a:extLst>
          </p:cNvPr>
          <p:cNvSpPr txBox="1"/>
          <p:nvPr/>
        </p:nvSpPr>
        <p:spPr>
          <a:xfrm>
            <a:off x="594791" y="4836986"/>
            <a:ext cx="3680924" cy="301434"/>
          </a:xfrm>
          <a:prstGeom prst="rect">
            <a:avLst/>
          </a:prstGeom>
          <a:solidFill>
            <a:schemeClr val="accent6">
              <a:lumMod val="20000"/>
              <a:lumOff val="80000"/>
            </a:schemeClr>
          </a:solid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3F7E"/>
                </a:solidFill>
                <a:effectLst/>
                <a:uLnTx/>
                <a:uFillTx/>
                <a:latin typeface="Arial"/>
                <a:ea typeface="游ゴシック Medium"/>
                <a:cs typeface="+mn-cs"/>
              </a:rPr>
              <a:t>  Japanese group companies</a:t>
            </a:r>
            <a:endParaRPr kumimoji="1" lang="ja-JP" altLang="en-US" sz="1200" b="1" i="0" u="none" strike="noStrike" kern="1200" cap="none" spc="0" normalizeH="0" baseline="0" noProof="0" dirty="0" err="1">
              <a:ln>
                <a:noFill/>
              </a:ln>
              <a:solidFill>
                <a:srgbClr val="003F7E"/>
              </a:solidFill>
              <a:effectLst/>
              <a:uLnTx/>
              <a:uFillTx/>
              <a:latin typeface="Arial"/>
              <a:ea typeface="游ゴシック Medium"/>
              <a:cs typeface="+mn-cs"/>
            </a:endParaRPr>
          </a:p>
        </p:txBody>
      </p:sp>
      <p:cxnSp>
        <p:nvCxnSpPr>
          <p:cNvPr id="135" name="Straight Connector 54">
            <a:extLst>
              <a:ext uri="{FF2B5EF4-FFF2-40B4-BE49-F238E27FC236}">
                <a16:creationId xmlns:a16="http://schemas.microsoft.com/office/drawing/2014/main" id="{90DE5AE6-35FB-8E03-79B4-817A7F827E96}"/>
              </a:ext>
            </a:extLst>
          </p:cNvPr>
          <p:cNvCxnSpPr>
            <a:cxnSpLocks/>
          </p:cNvCxnSpPr>
          <p:nvPr/>
        </p:nvCxnSpPr>
        <p:spPr>
          <a:xfrm>
            <a:off x="4546154" y="2100396"/>
            <a:ext cx="0" cy="403200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77" name="三角形 142">
            <a:extLst>
              <a:ext uri="{FF2B5EF4-FFF2-40B4-BE49-F238E27FC236}">
                <a16:creationId xmlns:a16="http://schemas.microsoft.com/office/drawing/2014/main" id="{DDA1413A-9F3E-AA7F-9AC1-BE969F55C210}"/>
              </a:ext>
            </a:extLst>
          </p:cNvPr>
          <p:cNvSpPr/>
          <p:nvPr/>
        </p:nvSpPr>
        <p:spPr>
          <a:xfrm rot="5400000">
            <a:off x="2521086" y="2615467"/>
            <a:ext cx="534814" cy="209113"/>
          </a:xfrm>
          <a:prstGeom prst="triangle">
            <a:avLst/>
          </a:prstGeom>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Arial"/>
              <a:ea typeface="游ゴシック Medium"/>
              <a:cs typeface="+mn-cs"/>
            </a:endParaRPr>
          </a:p>
        </p:txBody>
      </p:sp>
      <p:pic>
        <p:nvPicPr>
          <p:cNvPr id="24" name="図 23">
            <a:extLst>
              <a:ext uri="{FF2B5EF4-FFF2-40B4-BE49-F238E27FC236}">
                <a16:creationId xmlns:a16="http://schemas.microsoft.com/office/drawing/2014/main" id="{92CDEC86-262F-F7D4-71D1-02FC9E591168}"/>
              </a:ext>
            </a:extLst>
          </p:cNvPr>
          <p:cNvPicPr>
            <a:picLocks noChangeAspect="1"/>
          </p:cNvPicPr>
          <p:nvPr/>
        </p:nvPicPr>
        <p:blipFill rotWithShape="1">
          <a:blip r:embed="rId10"/>
          <a:srcRect t="11687"/>
          <a:stretch/>
        </p:blipFill>
        <p:spPr>
          <a:xfrm>
            <a:off x="8811582" y="3170023"/>
            <a:ext cx="3102373" cy="1915024"/>
          </a:xfrm>
          <a:prstGeom prst="rect">
            <a:avLst/>
          </a:prstGeom>
        </p:spPr>
      </p:pic>
      <p:grpSp>
        <p:nvGrpSpPr>
          <p:cNvPr id="23" name="グループ化 22">
            <a:extLst>
              <a:ext uri="{FF2B5EF4-FFF2-40B4-BE49-F238E27FC236}">
                <a16:creationId xmlns:a16="http://schemas.microsoft.com/office/drawing/2014/main" id="{45AC6894-81BE-A507-F3A7-FDA77E0306DE}"/>
              </a:ext>
            </a:extLst>
          </p:cNvPr>
          <p:cNvGrpSpPr/>
          <p:nvPr/>
        </p:nvGrpSpPr>
        <p:grpSpPr>
          <a:xfrm>
            <a:off x="8171581" y="3979575"/>
            <a:ext cx="533705" cy="419600"/>
            <a:chOff x="8650987" y="2452616"/>
            <a:chExt cx="533705" cy="419600"/>
          </a:xfrm>
        </p:grpSpPr>
        <p:sp>
          <p:nvSpPr>
            <p:cNvPr id="20" name="矢印: 山形 19">
              <a:extLst>
                <a:ext uri="{FF2B5EF4-FFF2-40B4-BE49-F238E27FC236}">
                  <a16:creationId xmlns:a16="http://schemas.microsoft.com/office/drawing/2014/main" id="{FD60CA9F-9CE8-D7C8-B7A1-9F601A15B234}"/>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21" name="矢印: 山形 20">
              <a:extLst>
                <a:ext uri="{FF2B5EF4-FFF2-40B4-BE49-F238E27FC236}">
                  <a16:creationId xmlns:a16="http://schemas.microsoft.com/office/drawing/2014/main" id="{37DA8460-EBEC-07BC-8619-6A7952F6F130}"/>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22" name="矢印: 山形 21">
              <a:extLst>
                <a:ext uri="{FF2B5EF4-FFF2-40B4-BE49-F238E27FC236}">
                  <a16:creationId xmlns:a16="http://schemas.microsoft.com/office/drawing/2014/main" id="{941BE7D5-60C7-E1F1-CAA5-457F082D5D61}"/>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grpSp>
        <p:nvGrpSpPr>
          <p:cNvPr id="25" name="グループ化 24">
            <a:extLst>
              <a:ext uri="{FF2B5EF4-FFF2-40B4-BE49-F238E27FC236}">
                <a16:creationId xmlns:a16="http://schemas.microsoft.com/office/drawing/2014/main" id="{E3C7163C-C0FE-BA46-A58B-EFE9B8A7986D}"/>
              </a:ext>
            </a:extLst>
          </p:cNvPr>
          <p:cNvGrpSpPr/>
          <p:nvPr/>
        </p:nvGrpSpPr>
        <p:grpSpPr>
          <a:xfrm rot="1412176">
            <a:off x="8165504" y="2886378"/>
            <a:ext cx="533705" cy="419600"/>
            <a:chOff x="8650987" y="2452616"/>
            <a:chExt cx="533705" cy="419600"/>
          </a:xfrm>
        </p:grpSpPr>
        <p:sp>
          <p:nvSpPr>
            <p:cNvPr id="26" name="矢印: 山形 25">
              <a:extLst>
                <a:ext uri="{FF2B5EF4-FFF2-40B4-BE49-F238E27FC236}">
                  <a16:creationId xmlns:a16="http://schemas.microsoft.com/office/drawing/2014/main" id="{6390A234-D9BD-52EC-FE5E-E2EA422C1F5F}"/>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27" name="矢印: 山形 26">
              <a:extLst>
                <a:ext uri="{FF2B5EF4-FFF2-40B4-BE49-F238E27FC236}">
                  <a16:creationId xmlns:a16="http://schemas.microsoft.com/office/drawing/2014/main" id="{4116D265-AA6B-F9D1-C1C0-DFA19A15D99A}"/>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28" name="矢印: 山形 27">
              <a:extLst>
                <a:ext uri="{FF2B5EF4-FFF2-40B4-BE49-F238E27FC236}">
                  <a16:creationId xmlns:a16="http://schemas.microsoft.com/office/drawing/2014/main" id="{B8AC0D74-EA9B-F5A9-8473-752265D8A929}"/>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grpSp>
        <p:nvGrpSpPr>
          <p:cNvPr id="29" name="グループ化 28">
            <a:extLst>
              <a:ext uri="{FF2B5EF4-FFF2-40B4-BE49-F238E27FC236}">
                <a16:creationId xmlns:a16="http://schemas.microsoft.com/office/drawing/2014/main" id="{9B598808-1DE9-83DB-5507-CCA74EAEB631}"/>
              </a:ext>
            </a:extLst>
          </p:cNvPr>
          <p:cNvGrpSpPr/>
          <p:nvPr/>
        </p:nvGrpSpPr>
        <p:grpSpPr>
          <a:xfrm rot="19924501">
            <a:off x="8185986" y="5030338"/>
            <a:ext cx="533705" cy="419600"/>
            <a:chOff x="8650987" y="2452616"/>
            <a:chExt cx="533705" cy="419600"/>
          </a:xfrm>
        </p:grpSpPr>
        <p:sp>
          <p:nvSpPr>
            <p:cNvPr id="30" name="矢印: 山形 29">
              <a:extLst>
                <a:ext uri="{FF2B5EF4-FFF2-40B4-BE49-F238E27FC236}">
                  <a16:creationId xmlns:a16="http://schemas.microsoft.com/office/drawing/2014/main" id="{EDE6217E-FA57-8309-7A19-E7CC52A48750}"/>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66" name="矢印: 山形 65">
              <a:extLst>
                <a:ext uri="{FF2B5EF4-FFF2-40B4-BE49-F238E27FC236}">
                  <a16:creationId xmlns:a16="http://schemas.microsoft.com/office/drawing/2014/main" id="{A4F13B0B-E720-30D5-2243-90E62C40A71F}"/>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67" name="矢印: 山形 66">
              <a:extLst>
                <a:ext uri="{FF2B5EF4-FFF2-40B4-BE49-F238E27FC236}">
                  <a16:creationId xmlns:a16="http://schemas.microsoft.com/office/drawing/2014/main" id="{518AAAB7-5E41-AAC7-D4B9-18627BE98ED9}"/>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sp>
        <p:nvSpPr>
          <p:cNvPr id="68" name="テキスト ボックス 67">
            <a:extLst>
              <a:ext uri="{FF2B5EF4-FFF2-40B4-BE49-F238E27FC236}">
                <a16:creationId xmlns:a16="http://schemas.microsoft.com/office/drawing/2014/main" id="{C0B20A84-3CF9-1FAC-C366-DF0EEB9D9C44}"/>
              </a:ext>
            </a:extLst>
          </p:cNvPr>
          <p:cNvSpPr txBox="1"/>
          <p:nvPr/>
        </p:nvSpPr>
        <p:spPr>
          <a:xfrm>
            <a:off x="8930093" y="2621653"/>
            <a:ext cx="2983862" cy="517633"/>
          </a:xfrm>
          <a:prstGeom prst="rect">
            <a:avLst/>
          </a:prstGeom>
          <a:noFill/>
        </p:spPr>
        <p:txBody>
          <a:bodyPr wrap="square" lIns="0" tIns="72000" rIns="2340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3F7E"/>
                </a:solidFill>
                <a:effectLst/>
                <a:uLnTx/>
                <a:uFillTx/>
                <a:latin typeface="Arial"/>
                <a:ea typeface="游ゴシック Medium"/>
                <a:cs typeface="+mn-cs"/>
              </a:rPr>
              <a:t>One standard template deployed to all MCG group companies</a:t>
            </a:r>
            <a:endParaRPr kumimoji="1" lang="ja-JP" altLang="en-US" sz="1200" b="1" i="0" u="none" strike="noStrike" kern="1200" cap="none" spc="0" normalizeH="0" baseline="0" noProof="0" dirty="0" err="1">
              <a:ln>
                <a:noFill/>
              </a:ln>
              <a:solidFill>
                <a:srgbClr val="003F7E"/>
              </a:solidFill>
              <a:effectLst/>
              <a:uLnTx/>
              <a:uFillTx/>
              <a:latin typeface="Arial"/>
              <a:ea typeface="游ゴシック Medium"/>
              <a:cs typeface="+mn-cs"/>
            </a:endParaRPr>
          </a:p>
        </p:txBody>
      </p:sp>
      <p:grpSp>
        <p:nvGrpSpPr>
          <p:cNvPr id="70" name="グループ化 69">
            <a:extLst>
              <a:ext uri="{FF2B5EF4-FFF2-40B4-BE49-F238E27FC236}">
                <a16:creationId xmlns:a16="http://schemas.microsoft.com/office/drawing/2014/main" id="{663608E2-0334-B5F7-F223-BADB44181C36}"/>
              </a:ext>
            </a:extLst>
          </p:cNvPr>
          <p:cNvGrpSpPr/>
          <p:nvPr/>
        </p:nvGrpSpPr>
        <p:grpSpPr>
          <a:xfrm>
            <a:off x="8171570" y="3964278"/>
            <a:ext cx="533705" cy="419600"/>
            <a:chOff x="8650987" y="2452616"/>
            <a:chExt cx="533705" cy="419600"/>
          </a:xfrm>
        </p:grpSpPr>
        <p:sp>
          <p:nvSpPr>
            <p:cNvPr id="71" name="矢印: 山形 70">
              <a:extLst>
                <a:ext uri="{FF2B5EF4-FFF2-40B4-BE49-F238E27FC236}">
                  <a16:creationId xmlns:a16="http://schemas.microsoft.com/office/drawing/2014/main" id="{FADD313D-7D79-A165-C2C7-C12868817150}"/>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72" name="矢印: 山形 71">
              <a:extLst>
                <a:ext uri="{FF2B5EF4-FFF2-40B4-BE49-F238E27FC236}">
                  <a16:creationId xmlns:a16="http://schemas.microsoft.com/office/drawing/2014/main" id="{C8258D7C-729C-9EE4-C886-C296AC02EAF7}"/>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74" name="矢印: 山形 73">
              <a:extLst>
                <a:ext uri="{FF2B5EF4-FFF2-40B4-BE49-F238E27FC236}">
                  <a16:creationId xmlns:a16="http://schemas.microsoft.com/office/drawing/2014/main" id="{AED3E992-87DF-AC28-569C-C2707E31C510}"/>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grpSp>
        <p:nvGrpSpPr>
          <p:cNvPr id="75" name="グループ化 74">
            <a:extLst>
              <a:ext uri="{FF2B5EF4-FFF2-40B4-BE49-F238E27FC236}">
                <a16:creationId xmlns:a16="http://schemas.microsoft.com/office/drawing/2014/main" id="{81B7FF95-8FB4-08B7-E712-939F3091F16C}"/>
              </a:ext>
            </a:extLst>
          </p:cNvPr>
          <p:cNvGrpSpPr/>
          <p:nvPr/>
        </p:nvGrpSpPr>
        <p:grpSpPr>
          <a:xfrm rot="1412176">
            <a:off x="8165493" y="2871081"/>
            <a:ext cx="533705" cy="419600"/>
            <a:chOff x="8650987" y="2452616"/>
            <a:chExt cx="533705" cy="419600"/>
          </a:xfrm>
        </p:grpSpPr>
        <p:sp>
          <p:nvSpPr>
            <p:cNvPr id="76" name="矢印: 山形 75">
              <a:extLst>
                <a:ext uri="{FF2B5EF4-FFF2-40B4-BE49-F238E27FC236}">
                  <a16:creationId xmlns:a16="http://schemas.microsoft.com/office/drawing/2014/main" id="{669CF8CF-56E5-1CCC-B18F-3A18FFF9C0C9}"/>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80" name="矢印: 山形 79">
              <a:extLst>
                <a:ext uri="{FF2B5EF4-FFF2-40B4-BE49-F238E27FC236}">
                  <a16:creationId xmlns:a16="http://schemas.microsoft.com/office/drawing/2014/main" id="{759BF4A5-AC64-5696-E786-F7590454AD5D}"/>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81" name="矢印: 山形 80">
              <a:extLst>
                <a:ext uri="{FF2B5EF4-FFF2-40B4-BE49-F238E27FC236}">
                  <a16:creationId xmlns:a16="http://schemas.microsoft.com/office/drawing/2014/main" id="{A14B2393-83CA-85D7-BC48-4242BD545F90}"/>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grpSp>
        <p:nvGrpSpPr>
          <p:cNvPr id="82" name="グループ化 81">
            <a:extLst>
              <a:ext uri="{FF2B5EF4-FFF2-40B4-BE49-F238E27FC236}">
                <a16:creationId xmlns:a16="http://schemas.microsoft.com/office/drawing/2014/main" id="{31D778AC-7E44-A29C-1971-33453035F11A}"/>
              </a:ext>
            </a:extLst>
          </p:cNvPr>
          <p:cNvGrpSpPr/>
          <p:nvPr/>
        </p:nvGrpSpPr>
        <p:grpSpPr>
          <a:xfrm rot="19924501">
            <a:off x="8185975" y="5015041"/>
            <a:ext cx="533705" cy="419600"/>
            <a:chOff x="8650987" y="2452616"/>
            <a:chExt cx="533705" cy="419600"/>
          </a:xfrm>
        </p:grpSpPr>
        <p:sp>
          <p:nvSpPr>
            <p:cNvPr id="83" name="矢印: 山形 82">
              <a:extLst>
                <a:ext uri="{FF2B5EF4-FFF2-40B4-BE49-F238E27FC236}">
                  <a16:creationId xmlns:a16="http://schemas.microsoft.com/office/drawing/2014/main" id="{CEA1B1F7-ADE4-E607-2D9D-DB10395F7813}"/>
                </a:ext>
              </a:extLst>
            </p:cNvPr>
            <p:cNvSpPr/>
            <p:nvPr/>
          </p:nvSpPr>
          <p:spPr>
            <a:xfrm>
              <a:off x="86509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84" name="矢印: 山形 83">
              <a:extLst>
                <a:ext uri="{FF2B5EF4-FFF2-40B4-BE49-F238E27FC236}">
                  <a16:creationId xmlns:a16="http://schemas.microsoft.com/office/drawing/2014/main" id="{7AB17115-D21E-704E-AC8D-8AB5322CE35C}"/>
                </a:ext>
              </a:extLst>
            </p:cNvPr>
            <p:cNvSpPr/>
            <p:nvPr/>
          </p:nvSpPr>
          <p:spPr>
            <a:xfrm>
              <a:off x="88033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85" name="矢印: 山形 84">
              <a:extLst>
                <a:ext uri="{FF2B5EF4-FFF2-40B4-BE49-F238E27FC236}">
                  <a16:creationId xmlns:a16="http://schemas.microsoft.com/office/drawing/2014/main" id="{CFA83633-9C83-E619-F4C3-7F2D50D59A5D}"/>
                </a:ext>
              </a:extLst>
            </p:cNvPr>
            <p:cNvSpPr/>
            <p:nvPr/>
          </p:nvSpPr>
          <p:spPr>
            <a:xfrm>
              <a:off x="8955787" y="2452616"/>
              <a:ext cx="228905" cy="419600"/>
            </a:xfrm>
            <a:prstGeom prst="chevron">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游ゴシック Medium"/>
                <a:cs typeface="+mn-cs"/>
              </a:endParaRPr>
            </a:p>
          </p:txBody>
        </p:sp>
      </p:grpSp>
      <p:grpSp>
        <p:nvGrpSpPr>
          <p:cNvPr id="14" name="グループ化 13">
            <a:extLst>
              <a:ext uri="{FF2B5EF4-FFF2-40B4-BE49-F238E27FC236}">
                <a16:creationId xmlns:a16="http://schemas.microsoft.com/office/drawing/2014/main" id="{19D63560-3701-9645-8E71-233386FD649C}"/>
              </a:ext>
            </a:extLst>
          </p:cNvPr>
          <p:cNvGrpSpPr/>
          <p:nvPr/>
        </p:nvGrpSpPr>
        <p:grpSpPr>
          <a:xfrm>
            <a:off x="10626571" y="949249"/>
            <a:ext cx="1431967" cy="879551"/>
            <a:chOff x="10422024" y="5480557"/>
            <a:chExt cx="1491931" cy="875855"/>
          </a:xfrm>
        </p:grpSpPr>
        <p:sp>
          <p:nvSpPr>
            <p:cNvPr id="13" name="正方形/長方形 12">
              <a:extLst>
                <a:ext uri="{FF2B5EF4-FFF2-40B4-BE49-F238E27FC236}">
                  <a16:creationId xmlns:a16="http://schemas.microsoft.com/office/drawing/2014/main" id="{94CAAEB1-9788-38FC-A255-A35D61C1575A}"/>
                </a:ext>
              </a:extLst>
            </p:cNvPr>
            <p:cNvSpPr/>
            <p:nvPr/>
          </p:nvSpPr>
          <p:spPr>
            <a:xfrm>
              <a:off x="10422024" y="5480557"/>
              <a:ext cx="1491931" cy="875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rPr>
                <a:t>Legend</a:t>
              </a:r>
              <a:endParaRPr kumimoji="1" lang="ja-JP" altLang="en-US" sz="1100" b="0" i="0" u="none" strike="noStrike" kern="1200" cap="none" spc="0" normalizeH="0" baseline="0" noProof="0" dirty="0">
                <a:ln>
                  <a:noFill/>
                </a:ln>
                <a:solidFill>
                  <a:srgbClr val="000000">
                    <a:lumMod val="75000"/>
                    <a:lumOff val="25000"/>
                  </a:srgbClr>
                </a:solidFill>
                <a:effectLst/>
                <a:uLnTx/>
                <a:uFillTx/>
                <a:latin typeface="Arial"/>
                <a:ea typeface="游ゴシック Medium"/>
                <a:cs typeface="+mn-cs"/>
              </a:endParaRPr>
            </a:p>
          </p:txBody>
        </p:sp>
        <p:sp>
          <p:nvSpPr>
            <p:cNvPr id="8" name="矢印: 五方向 7">
              <a:extLst>
                <a:ext uri="{FF2B5EF4-FFF2-40B4-BE49-F238E27FC236}">
                  <a16:creationId xmlns:a16="http://schemas.microsoft.com/office/drawing/2014/main" id="{4C0636D0-28B3-E0C1-40DA-FE33915BA8E2}"/>
                </a:ext>
              </a:extLst>
            </p:cNvPr>
            <p:cNvSpPr/>
            <p:nvPr/>
          </p:nvSpPr>
          <p:spPr>
            <a:xfrm>
              <a:off x="10591060" y="5726292"/>
              <a:ext cx="1207364" cy="233178"/>
            </a:xfrm>
            <a:prstGeom prst="homePlate">
              <a:avLst/>
            </a:prstGeom>
            <a:gradFill flip="none" rotWithShape="1">
              <a:gsLst>
                <a:gs pos="4000">
                  <a:schemeClr val="accent2">
                    <a:lumMod val="67000"/>
                  </a:schemeClr>
                </a:gs>
                <a:gs pos="48000">
                  <a:schemeClr val="accent2">
                    <a:lumMod val="97000"/>
                    <a:lumOff val="3000"/>
                  </a:schemeClr>
                </a:gs>
                <a:gs pos="100000">
                  <a:schemeClr val="accent2">
                    <a:lumMod val="60000"/>
                    <a:lumOff val="4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游ゴシック Medium"/>
                  <a:cs typeface="+mn-cs"/>
                </a:rPr>
                <a:t>Standardization</a:t>
              </a:r>
              <a:endParaRPr kumimoji="1" lang="ja-JP" altLang="en-US" sz="10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10" name="矢印: 五方向 9">
              <a:extLst>
                <a:ext uri="{FF2B5EF4-FFF2-40B4-BE49-F238E27FC236}">
                  <a16:creationId xmlns:a16="http://schemas.microsoft.com/office/drawing/2014/main" id="{F951FB25-D727-6219-B1E9-7EF42E9BB1BD}"/>
                </a:ext>
              </a:extLst>
            </p:cNvPr>
            <p:cNvSpPr/>
            <p:nvPr/>
          </p:nvSpPr>
          <p:spPr>
            <a:xfrm>
              <a:off x="10591060" y="6041167"/>
              <a:ext cx="1204705" cy="233178"/>
            </a:xfrm>
            <a:prstGeom prst="homePlate">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游ゴシック Medium"/>
                  <a:cs typeface="+mn-cs"/>
                </a:rPr>
                <a:t>Integration</a:t>
              </a:r>
              <a:endParaRPr kumimoji="1" lang="ja-JP" altLang="en-US" sz="1000" b="0" i="0" u="none" strike="noStrike" kern="1200" cap="none" spc="0" normalizeH="0" baseline="0" noProof="0" dirty="0">
                <a:ln>
                  <a:noFill/>
                </a:ln>
                <a:solidFill>
                  <a:srgbClr val="FFFFFF"/>
                </a:solidFill>
                <a:effectLst/>
                <a:uLnTx/>
                <a:uFillTx/>
                <a:latin typeface="Arial"/>
                <a:ea typeface="游ゴシック Medium"/>
                <a:cs typeface="+mn-cs"/>
              </a:endParaRPr>
            </a:p>
          </p:txBody>
        </p:sp>
      </p:grpSp>
      <p:cxnSp>
        <p:nvCxnSpPr>
          <p:cNvPr id="9" name="直線矢印コネクタ 8">
            <a:extLst>
              <a:ext uri="{FF2B5EF4-FFF2-40B4-BE49-F238E27FC236}">
                <a16:creationId xmlns:a16="http://schemas.microsoft.com/office/drawing/2014/main" id="{458764B4-298E-938E-EC56-50956BB80E99}"/>
              </a:ext>
            </a:extLst>
          </p:cNvPr>
          <p:cNvCxnSpPr>
            <a:cxnSpLocks/>
          </p:cNvCxnSpPr>
          <p:nvPr/>
        </p:nvCxnSpPr>
        <p:spPr>
          <a:xfrm flipV="1">
            <a:off x="6191794" y="2987431"/>
            <a:ext cx="652871" cy="97684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線矢印コネクタ 14">
            <a:extLst>
              <a:ext uri="{FF2B5EF4-FFF2-40B4-BE49-F238E27FC236}">
                <a16:creationId xmlns:a16="http://schemas.microsoft.com/office/drawing/2014/main" id="{E045DDE7-ECB3-1E94-6220-75C02174F4E2}"/>
              </a:ext>
            </a:extLst>
          </p:cNvPr>
          <p:cNvCxnSpPr>
            <a:cxnSpLocks/>
          </p:cNvCxnSpPr>
          <p:nvPr/>
        </p:nvCxnSpPr>
        <p:spPr>
          <a:xfrm>
            <a:off x="6225201" y="4429780"/>
            <a:ext cx="346177" cy="9872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346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コンテンツ プレースホルダー 4">
            <a:extLst>
              <a:ext uri="{FF2B5EF4-FFF2-40B4-BE49-F238E27FC236}">
                <a16:creationId xmlns:a16="http://schemas.microsoft.com/office/drawing/2014/main" id="{E8ECFC75-7A70-DE6F-A9D4-278C7B55A571}"/>
              </a:ext>
            </a:extLst>
          </p:cNvPr>
          <p:cNvSpPr>
            <a:spLocks noGrp="1"/>
          </p:cNvSpPr>
          <p:nvPr>
            <p:ph type="body" sz="quarter" idx="11"/>
          </p:nvPr>
        </p:nvSpPr>
        <p:spPr>
          <a:xfrm>
            <a:off x="228988" y="1034664"/>
            <a:ext cx="11736000" cy="5040000"/>
          </a:xfrm>
        </p:spPr>
        <p:txBody>
          <a:bodyPr>
            <a:normAutofit/>
          </a:bodyPr>
          <a:lstStyle/>
          <a:p>
            <a:pPr marL="285750" indent="-285750">
              <a:lnSpc>
                <a:spcPct val="100000"/>
              </a:lnSpc>
              <a:buFont typeface="Wingdings" panose="05000000000000000000" pitchFamily="2" charset="2"/>
              <a:buChar char="ü"/>
            </a:pPr>
            <a:r>
              <a:rPr lang="en-US" altLang="ja-JP" dirty="0"/>
              <a:t>T</a:t>
            </a:r>
            <a:r>
              <a:rPr kumimoji="1" lang="en-US" altLang="ja-JP" dirty="0"/>
              <a:t>here are 3</a:t>
            </a:r>
            <a:r>
              <a:rPr kumimoji="1" lang="ja-JP" altLang="en-US" dirty="0"/>
              <a:t> </a:t>
            </a:r>
            <a:r>
              <a:rPr kumimoji="1" lang="en-US" altLang="ja-JP" dirty="0"/>
              <a:t>steps in our transformation journey; Tactical improvement, Basic Transformation, and Process Transformation.</a:t>
            </a:r>
          </a:p>
          <a:p>
            <a:pPr marL="285750" indent="-285750">
              <a:lnSpc>
                <a:spcPct val="100000"/>
              </a:lnSpc>
              <a:buFont typeface="Wingdings" panose="05000000000000000000" pitchFamily="2" charset="2"/>
              <a:buChar char="ü"/>
            </a:pPr>
            <a:r>
              <a:rPr lang="en-US" altLang="ja-JP" dirty="0"/>
              <a:t>Basic Transformation is the goal of Mone-G where end-to-end process, ERP system, and data are globally standardized.</a:t>
            </a:r>
          </a:p>
          <a:p>
            <a:pPr marL="285750" indent="-285750">
              <a:lnSpc>
                <a:spcPct val="100000"/>
              </a:lnSpc>
              <a:buFont typeface="Wingdings" panose="05000000000000000000" pitchFamily="2" charset="2"/>
              <a:buChar char="ü"/>
            </a:pPr>
            <a:r>
              <a:rPr lang="en-US" altLang="ja-JP" dirty="0"/>
              <a:t>We will achieve quick wins collaborating with each BU/FU in Tactical Improvement. </a:t>
            </a:r>
          </a:p>
          <a:p>
            <a:pPr marL="285750" indent="-285750">
              <a:lnSpc>
                <a:spcPct val="100000"/>
              </a:lnSpc>
              <a:buFont typeface="Wingdings" panose="05000000000000000000" pitchFamily="2" charset="2"/>
              <a:buChar char="ü"/>
            </a:pPr>
            <a:r>
              <a:rPr lang="en-US" altLang="ja-JP" dirty="0"/>
              <a:t>P</a:t>
            </a:r>
            <a:r>
              <a:rPr lang="en-US" altLang="ja-JP" sz="1600" dirty="0"/>
              <a:t>otential value was identified through the benchmark studies. Committing amount </a:t>
            </a:r>
            <a:r>
              <a:rPr lang="en-US" altLang="ja-JP" dirty="0"/>
              <a:t>and </a:t>
            </a:r>
            <a:r>
              <a:rPr lang="en-US" altLang="ja-JP" sz="1600" dirty="0"/>
              <a:t>actions to be determined in Phase 1.</a:t>
            </a:r>
          </a:p>
        </p:txBody>
      </p:sp>
      <p:pic>
        <p:nvPicPr>
          <p:cNvPr id="14" name="図 13">
            <a:extLst>
              <a:ext uri="{FF2B5EF4-FFF2-40B4-BE49-F238E27FC236}">
                <a16:creationId xmlns:a16="http://schemas.microsoft.com/office/drawing/2014/main" id="{788C0FF4-F8EB-148E-9565-6E0C8B4DF118}"/>
              </a:ext>
            </a:extLst>
          </p:cNvPr>
          <p:cNvPicPr>
            <a:picLocks noChangeAspect="1"/>
          </p:cNvPicPr>
          <p:nvPr/>
        </p:nvPicPr>
        <p:blipFill>
          <a:blip r:embed="rId2"/>
          <a:stretch>
            <a:fillRect/>
          </a:stretch>
        </p:blipFill>
        <p:spPr>
          <a:xfrm>
            <a:off x="4750376" y="3446091"/>
            <a:ext cx="2941387" cy="1833037"/>
          </a:xfrm>
          <a:prstGeom prst="rect">
            <a:avLst/>
          </a:prstGeom>
        </p:spPr>
      </p:pic>
      <p:sp>
        <p:nvSpPr>
          <p:cNvPr id="4" name="タイトル 3">
            <a:extLst>
              <a:ext uri="{FF2B5EF4-FFF2-40B4-BE49-F238E27FC236}">
                <a16:creationId xmlns:a16="http://schemas.microsoft.com/office/drawing/2014/main" id="{3AEAD2EB-41C5-DECC-ADFB-B9D327A5B90C}"/>
              </a:ext>
            </a:extLst>
          </p:cNvPr>
          <p:cNvSpPr>
            <a:spLocks noGrp="1"/>
          </p:cNvSpPr>
          <p:nvPr>
            <p:ph type="title"/>
          </p:nvPr>
        </p:nvSpPr>
        <p:spPr/>
        <p:txBody>
          <a:bodyPr/>
          <a:lstStyle/>
          <a:p>
            <a:r>
              <a:rPr kumimoji="1" lang="en-US" altLang="ja-JP" dirty="0"/>
              <a:t>MCG transformation journey and potential value</a:t>
            </a:r>
            <a:endParaRPr kumimoji="1" lang="ja-JP" altLang="en-US" dirty="0"/>
          </a:p>
        </p:txBody>
      </p:sp>
      <p:sp>
        <p:nvSpPr>
          <p:cNvPr id="2" name="スライド番号プレースホルダー 1">
            <a:extLst>
              <a:ext uri="{FF2B5EF4-FFF2-40B4-BE49-F238E27FC236}">
                <a16:creationId xmlns:a16="http://schemas.microsoft.com/office/drawing/2014/main" id="{D4A67BB6-EC9D-61D2-83B6-62F67415BF8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3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1" lang="ja-JP" altLang="en-US" sz="113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3" name="フッター プレースホルダー 2">
            <a:extLst>
              <a:ext uri="{FF2B5EF4-FFF2-40B4-BE49-F238E27FC236}">
                <a16:creationId xmlns:a16="http://schemas.microsoft.com/office/drawing/2014/main" id="{5ED72288-2888-0EBB-C664-ADF44E9A07C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6" name="Text Placeholder 2">
            <a:extLst>
              <a:ext uri="{FF2B5EF4-FFF2-40B4-BE49-F238E27FC236}">
                <a16:creationId xmlns:a16="http://schemas.microsoft.com/office/drawing/2014/main" id="{EE06EBA2-9555-6EBE-6C77-2EBF575320F8}"/>
              </a:ext>
            </a:extLst>
          </p:cNvPr>
          <p:cNvSpPr txBox="1">
            <a:spLocks/>
          </p:cNvSpPr>
          <p:nvPr/>
        </p:nvSpPr>
        <p:spPr bwMode="black">
          <a:xfrm>
            <a:off x="8256483" y="2958037"/>
            <a:ext cx="3600125" cy="276999"/>
          </a:xfrm>
          <a:prstGeom prst="rect">
            <a:avLst/>
          </a:prstGeom>
        </p:spPr>
        <p:txBody>
          <a:bodyPr vert="horz" lIns="0" tIns="0" rIns="0" bIns="0" rtlCol="0" anchor="ctr">
            <a:no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1799"/>
              </a:spcBef>
              <a:spcAft>
                <a:spcPts val="0"/>
              </a:spcAft>
              <a:buClr>
                <a:srgbClr val="F0AB00"/>
              </a:buClr>
              <a:buSzPct val="80000"/>
              <a:buFontTx/>
              <a:buNone/>
              <a:tabLst/>
              <a:defRPr/>
            </a:pPr>
            <a:r>
              <a:rPr kumimoji="0" lang="en-GB" sz="2000" b="0" i="0" u="none" strike="noStrike" kern="1200" cap="none" spc="0" normalizeH="0" baseline="0" noProof="0" dirty="0">
                <a:ln>
                  <a:noFill/>
                </a:ln>
                <a:solidFill>
                  <a:srgbClr val="8A9093">
                    <a:lumMod val="75000"/>
                  </a:srgbClr>
                </a:solidFill>
                <a:effectLst/>
                <a:uLnTx/>
                <a:uFillTx/>
                <a:latin typeface="Arial"/>
                <a:ea typeface="游ゴシック Medium"/>
                <a:cs typeface="+mn-cs"/>
              </a:rPr>
              <a:t>Process Transformation </a:t>
            </a:r>
          </a:p>
        </p:txBody>
      </p:sp>
      <p:sp>
        <p:nvSpPr>
          <p:cNvPr id="7" name="Text Placeholder 3">
            <a:extLst>
              <a:ext uri="{FF2B5EF4-FFF2-40B4-BE49-F238E27FC236}">
                <a16:creationId xmlns:a16="http://schemas.microsoft.com/office/drawing/2014/main" id="{704AEB07-0745-5188-9E2C-8C139A7BA836}"/>
              </a:ext>
            </a:extLst>
          </p:cNvPr>
          <p:cNvSpPr txBox="1">
            <a:spLocks/>
          </p:cNvSpPr>
          <p:nvPr/>
        </p:nvSpPr>
        <p:spPr bwMode="black">
          <a:xfrm>
            <a:off x="4370575" y="2958037"/>
            <a:ext cx="3455100" cy="276999"/>
          </a:xfrm>
          <a:prstGeom prst="rect">
            <a:avLst/>
          </a:prstGeom>
          <a:ln>
            <a:noFill/>
          </a:ln>
        </p:spPr>
        <p:txBody>
          <a:bodyPr vert="horz" lIns="0" tIns="0" rIns="0" bIns="0" rtlCol="0" anchor="ctr">
            <a:no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1799"/>
              </a:spcBef>
              <a:spcAft>
                <a:spcPts val="0"/>
              </a:spcAft>
              <a:buClr>
                <a:srgbClr val="F0AB00"/>
              </a:buClr>
              <a:buSzPct val="80000"/>
              <a:buFontTx/>
              <a:buNone/>
              <a:tabLst/>
              <a:defRPr/>
            </a:pPr>
            <a:r>
              <a:rPr kumimoji="0" lang="en-GB" sz="2000" b="0" i="0" u="none" strike="noStrike" kern="1200" cap="none" spc="0" normalizeH="0" baseline="0" noProof="0" dirty="0">
                <a:ln>
                  <a:noFill/>
                </a:ln>
                <a:solidFill>
                  <a:srgbClr val="003F7E"/>
                </a:solidFill>
                <a:effectLst/>
                <a:uLnTx/>
                <a:uFillTx/>
                <a:latin typeface="Arial"/>
                <a:ea typeface="游ゴシック Medium"/>
                <a:cs typeface="+mn-cs"/>
              </a:rPr>
              <a:t>Basic Transformation</a:t>
            </a:r>
          </a:p>
        </p:txBody>
      </p:sp>
      <p:cxnSp>
        <p:nvCxnSpPr>
          <p:cNvPr id="9" name="Straight Connector 54">
            <a:extLst>
              <a:ext uri="{FF2B5EF4-FFF2-40B4-BE49-F238E27FC236}">
                <a16:creationId xmlns:a16="http://schemas.microsoft.com/office/drawing/2014/main" id="{47C09561-B6E8-BD87-C09D-EC5736123152}"/>
              </a:ext>
            </a:extLst>
          </p:cNvPr>
          <p:cNvCxnSpPr>
            <a:cxnSpLocks/>
          </p:cNvCxnSpPr>
          <p:nvPr/>
        </p:nvCxnSpPr>
        <p:spPr>
          <a:xfrm>
            <a:off x="8017207" y="2825757"/>
            <a:ext cx="39930" cy="3684338"/>
          </a:xfrm>
          <a:prstGeom prst="line">
            <a:avLst/>
          </a:prstGeom>
          <a:noFill/>
          <a:ln w="25400" cap="flat" cmpd="sng" algn="ctr">
            <a:solidFill>
              <a:srgbClr val="CCCCCC"/>
            </a:solidFill>
            <a:prstDash val="solid"/>
            <a:headEnd type="none" w="med" len="med"/>
            <a:tailEnd type="none" w="med" len="med"/>
          </a:ln>
          <a:effectLst/>
        </p:spPr>
      </p:cxnSp>
      <p:sp>
        <p:nvSpPr>
          <p:cNvPr id="94" name="Text Placeholder 3">
            <a:extLst>
              <a:ext uri="{FF2B5EF4-FFF2-40B4-BE49-F238E27FC236}">
                <a16:creationId xmlns:a16="http://schemas.microsoft.com/office/drawing/2014/main" id="{79B9227D-36BD-795D-75FA-25F193732D48}"/>
              </a:ext>
            </a:extLst>
          </p:cNvPr>
          <p:cNvSpPr txBox="1">
            <a:spLocks/>
          </p:cNvSpPr>
          <p:nvPr/>
        </p:nvSpPr>
        <p:spPr bwMode="black">
          <a:xfrm>
            <a:off x="499414" y="2958037"/>
            <a:ext cx="3429169" cy="276999"/>
          </a:xfrm>
          <a:prstGeom prst="rect">
            <a:avLst/>
          </a:prstGeom>
          <a:ln>
            <a:noFill/>
          </a:ln>
        </p:spPr>
        <p:txBody>
          <a:bodyPr vert="horz" lIns="0" tIns="0" rIns="0" bIns="0" rtlCol="0" anchor="ctr">
            <a:no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1799"/>
              </a:spcBef>
              <a:spcAft>
                <a:spcPts val="0"/>
              </a:spcAft>
              <a:buClr>
                <a:srgbClr val="F0AB00"/>
              </a:buClr>
              <a:buSzPct val="80000"/>
              <a:buFontTx/>
              <a:buNone/>
              <a:tabLst/>
              <a:defRPr/>
            </a:pPr>
            <a:r>
              <a:rPr kumimoji="0" lang="en-GB" sz="2000" b="0" i="0" u="none" strike="noStrike" kern="1200" cap="none" spc="0" normalizeH="0" baseline="0" noProof="0" dirty="0">
                <a:ln>
                  <a:noFill/>
                </a:ln>
                <a:solidFill>
                  <a:srgbClr val="003F7E"/>
                </a:solidFill>
                <a:effectLst/>
                <a:uLnTx/>
                <a:uFillTx/>
                <a:latin typeface="Arial"/>
                <a:ea typeface="游ゴシック Medium"/>
                <a:cs typeface="+mn-cs"/>
              </a:rPr>
              <a:t>Tactical Improvement</a:t>
            </a:r>
          </a:p>
        </p:txBody>
      </p:sp>
      <p:cxnSp>
        <p:nvCxnSpPr>
          <p:cNvPr id="119" name="Straight Connector 54">
            <a:extLst>
              <a:ext uri="{FF2B5EF4-FFF2-40B4-BE49-F238E27FC236}">
                <a16:creationId xmlns:a16="http://schemas.microsoft.com/office/drawing/2014/main" id="{269A7411-1DB3-C916-4A85-A2B2D0207985}"/>
              </a:ext>
            </a:extLst>
          </p:cNvPr>
          <p:cNvCxnSpPr>
            <a:cxnSpLocks/>
          </p:cNvCxnSpPr>
          <p:nvPr/>
        </p:nvCxnSpPr>
        <p:spPr>
          <a:xfrm>
            <a:off x="4160046" y="2958037"/>
            <a:ext cx="0" cy="3543518"/>
          </a:xfrm>
          <a:prstGeom prst="line">
            <a:avLst/>
          </a:prstGeom>
          <a:noFill/>
          <a:ln w="25400" cap="flat" cmpd="sng" algn="ctr">
            <a:solidFill>
              <a:srgbClr val="CCCCCC"/>
            </a:solidFill>
            <a:prstDash val="solid"/>
            <a:headEnd type="none" w="med" len="med"/>
            <a:tailEnd type="none" w="med" len="med"/>
          </a:ln>
          <a:effectLst/>
        </p:spPr>
      </p:cxnSp>
      <p:pic>
        <p:nvPicPr>
          <p:cNvPr id="120" name="図 119">
            <a:extLst>
              <a:ext uri="{FF2B5EF4-FFF2-40B4-BE49-F238E27FC236}">
                <a16:creationId xmlns:a16="http://schemas.microsoft.com/office/drawing/2014/main" id="{0776474C-3F87-83C0-B48B-B20E726735F8}"/>
              </a:ext>
            </a:extLst>
          </p:cNvPr>
          <p:cNvPicPr>
            <a:picLocks noChangeAspect="1"/>
          </p:cNvPicPr>
          <p:nvPr/>
        </p:nvPicPr>
        <p:blipFill>
          <a:blip r:embed="rId3"/>
          <a:stretch>
            <a:fillRect/>
          </a:stretch>
        </p:blipFill>
        <p:spPr>
          <a:xfrm>
            <a:off x="787707" y="3486831"/>
            <a:ext cx="3045294" cy="1712977"/>
          </a:xfrm>
          <a:prstGeom prst="rect">
            <a:avLst/>
          </a:prstGeom>
        </p:spPr>
      </p:pic>
      <p:pic>
        <p:nvPicPr>
          <p:cNvPr id="16" name="図 15">
            <a:extLst>
              <a:ext uri="{FF2B5EF4-FFF2-40B4-BE49-F238E27FC236}">
                <a16:creationId xmlns:a16="http://schemas.microsoft.com/office/drawing/2014/main" id="{EDCEB100-96B3-8CC9-4E54-FFE2E58C2CE2}"/>
              </a:ext>
            </a:extLst>
          </p:cNvPr>
          <p:cNvPicPr>
            <a:picLocks noChangeAspect="1"/>
          </p:cNvPicPr>
          <p:nvPr/>
        </p:nvPicPr>
        <p:blipFill>
          <a:blip r:embed="rId4"/>
          <a:stretch>
            <a:fillRect/>
          </a:stretch>
        </p:blipFill>
        <p:spPr>
          <a:xfrm>
            <a:off x="8610966" y="3446091"/>
            <a:ext cx="2893417" cy="1788533"/>
          </a:xfrm>
          <a:prstGeom prst="rect">
            <a:avLst/>
          </a:prstGeom>
        </p:spPr>
      </p:pic>
      <p:sp>
        <p:nvSpPr>
          <p:cNvPr id="82" name="矢印: ストライプ 81">
            <a:extLst>
              <a:ext uri="{FF2B5EF4-FFF2-40B4-BE49-F238E27FC236}">
                <a16:creationId xmlns:a16="http://schemas.microsoft.com/office/drawing/2014/main" id="{76EA081F-CADB-0D4A-8688-9B5232DB4E0F}"/>
              </a:ext>
            </a:extLst>
          </p:cNvPr>
          <p:cNvSpPr/>
          <p:nvPr/>
        </p:nvSpPr>
        <p:spPr>
          <a:xfrm>
            <a:off x="598834" y="2639568"/>
            <a:ext cx="7418373" cy="372377"/>
          </a:xfrm>
          <a:prstGeom prst="stripedRightArrow">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Mone-G</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25" name="矢印: ストライプ 24">
            <a:extLst>
              <a:ext uri="{FF2B5EF4-FFF2-40B4-BE49-F238E27FC236}">
                <a16:creationId xmlns:a16="http://schemas.microsoft.com/office/drawing/2014/main" id="{666D480C-39B4-4882-9937-92D7FBE57B9F}"/>
              </a:ext>
            </a:extLst>
          </p:cNvPr>
          <p:cNvSpPr/>
          <p:nvPr/>
        </p:nvSpPr>
        <p:spPr>
          <a:xfrm>
            <a:off x="8114465" y="2639568"/>
            <a:ext cx="3648450" cy="372377"/>
          </a:xfrm>
          <a:prstGeom prst="stripedRightArrow">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62" name="TextBox 110">
            <a:extLst>
              <a:ext uri="{FF2B5EF4-FFF2-40B4-BE49-F238E27FC236}">
                <a16:creationId xmlns:a16="http://schemas.microsoft.com/office/drawing/2014/main" id="{E977C19C-1B21-2C93-4CF5-260DA103684D}"/>
              </a:ext>
            </a:extLst>
          </p:cNvPr>
          <p:cNvSpPr txBox="1"/>
          <p:nvPr/>
        </p:nvSpPr>
        <p:spPr>
          <a:xfrm>
            <a:off x="1628153" y="3229465"/>
            <a:ext cx="1171690" cy="215444"/>
          </a:xfrm>
          <a:prstGeom prst="rect">
            <a:avLst/>
          </a:prstGeom>
          <a:solidFill>
            <a:schemeClr val="accent4">
              <a:lumMod val="40000"/>
              <a:lumOff val="60000"/>
            </a:schemeClr>
          </a:solid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1400" b="0" i="0" u="none" strike="noStrike" kern="0" cap="none" spc="0" normalizeH="0" baseline="0" noProof="0" dirty="0">
                <a:ln>
                  <a:noFill/>
                </a:ln>
                <a:solidFill>
                  <a:srgbClr val="000000">
                    <a:lumMod val="75000"/>
                    <a:lumOff val="25000"/>
                  </a:srgbClr>
                </a:solidFill>
                <a:effectLst/>
                <a:uLnTx/>
                <a:uFillTx/>
                <a:latin typeface="Arial" panose="020B0604020202020204"/>
                <a:ea typeface="Arial Unicode MS" pitchFamily="34" charset="-128"/>
                <a:cs typeface="Arial Unicode MS" pitchFamily="34" charset="-128"/>
              </a:rPr>
              <a:t>Quick Win</a:t>
            </a:r>
            <a:endParaRPr kumimoji="0" lang="en-GB" sz="1100" b="0" i="1" u="none" strike="noStrike" kern="0" cap="none" spc="0" normalizeH="0" baseline="0" noProof="0" dirty="0">
              <a:ln>
                <a:noFill/>
              </a:ln>
              <a:solidFill>
                <a:srgbClr val="000000">
                  <a:lumMod val="75000"/>
                  <a:lumOff val="25000"/>
                </a:srgbClr>
              </a:solidFill>
              <a:effectLst/>
              <a:uLnTx/>
              <a:uFillTx/>
              <a:latin typeface="Arial" panose="020B0604020202020204"/>
              <a:ea typeface="Arial Unicode MS" pitchFamily="34" charset="-128"/>
              <a:cs typeface="Arial Unicode MS" pitchFamily="34" charset="-128"/>
            </a:endParaRPr>
          </a:p>
        </p:txBody>
      </p:sp>
      <p:sp>
        <p:nvSpPr>
          <p:cNvPr id="60" name="TextBox 56">
            <a:extLst>
              <a:ext uri="{FF2B5EF4-FFF2-40B4-BE49-F238E27FC236}">
                <a16:creationId xmlns:a16="http://schemas.microsoft.com/office/drawing/2014/main" id="{40B5ADCB-ECDB-33B7-28F0-4D2A56DADC39}"/>
              </a:ext>
            </a:extLst>
          </p:cNvPr>
          <p:cNvSpPr txBox="1"/>
          <p:nvPr/>
        </p:nvSpPr>
        <p:spPr>
          <a:xfrm>
            <a:off x="9526082" y="3240204"/>
            <a:ext cx="1060926" cy="215444"/>
          </a:xfrm>
          <a:prstGeom prst="rect">
            <a:avLst/>
          </a:prstGeom>
          <a:solidFill>
            <a:schemeClr val="accent4">
              <a:lumMod val="40000"/>
              <a:lumOff val="60000"/>
            </a:schemeClr>
          </a:solidFill>
        </p:spPr>
        <p:txBody>
          <a:bodyPr wrap="square" lIns="0" tIns="0" rIns="0" bIns="0" rtlCol="0">
            <a:spAutoFit/>
          </a:bodyPr>
          <a:lstStyle>
            <a:defPPr>
              <a:defRPr lang="ja-JP"/>
            </a:defPPr>
            <a:lvl1pPr marR="0" lvl="0" indent="0" algn="ctr" fontAlgn="base">
              <a:lnSpc>
                <a:spcPct val="100000"/>
              </a:lnSpc>
              <a:spcBef>
                <a:spcPct val="50000"/>
              </a:spcBef>
              <a:spcAft>
                <a:spcPct val="0"/>
              </a:spcAft>
              <a:buClr>
                <a:srgbClr val="F0AB00"/>
              </a:buClr>
              <a:buSzPct val="80000"/>
              <a:buFontTx/>
              <a:buNone/>
              <a:tabLst/>
              <a:defRPr kumimoji="0" sz="1600" i="0" u="none" strike="noStrike" kern="0" cap="none" spc="0" normalizeH="0" baseline="0">
                <a:ln>
                  <a:noFill/>
                </a:ln>
                <a:solidFill>
                  <a:schemeClr val="tx1">
                    <a:lumMod val="75000"/>
                    <a:lumOff val="25000"/>
                  </a:schemeClr>
                </a:solidFill>
                <a:effectLst/>
                <a:uLnTx/>
                <a:uFillTx/>
                <a:latin typeface="Arial" panose="020B0604020202020204"/>
                <a:ea typeface="Arial Unicode MS" pitchFamily="34" charset="-128"/>
                <a:cs typeface="Arial Unicode MS" pitchFamily="34" charset="-128"/>
              </a:defRPr>
            </a:lvl1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1400" b="0" i="0" u="none" strike="noStrike" kern="0" cap="none" spc="0" normalizeH="0" baseline="0" noProof="0" dirty="0">
                <a:ln>
                  <a:noFill/>
                </a:ln>
                <a:solidFill>
                  <a:srgbClr val="000000">
                    <a:lumMod val="75000"/>
                    <a:lumOff val="25000"/>
                  </a:srgbClr>
                </a:solidFill>
                <a:effectLst/>
                <a:uLnTx/>
                <a:uFillTx/>
                <a:latin typeface="Arial" panose="020B0604020202020204"/>
                <a:ea typeface="Arial Unicode MS" pitchFamily="34" charset="-128"/>
              </a:rPr>
              <a:t>Simplify</a:t>
            </a:r>
          </a:p>
        </p:txBody>
      </p:sp>
      <p:sp>
        <p:nvSpPr>
          <p:cNvPr id="61" name="TextBox 110">
            <a:extLst>
              <a:ext uri="{FF2B5EF4-FFF2-40B4-BE49-F238E27FC236}">
                <a16:creationId xmlns:a16="http://schemas.microsoft.com/office/drawing/2014/main" id="{EB9D5FEB-3BD4-2AF6-A226-D1A8393B120B}"/>
              </a:ext>
            </a:extLst>
          </p:cNvPr>
          <p:cNvSpPr txBox="1"/>
          <p:nvPr/>
        </p:nvSpPr>
        <p:spPr>
          <a:xfrm>
            <a:off x="5444436" y="3235036"/>
            <a:ext cx="1307379" cy="215444"/>
          </a:xfrm>
          <a:prstGeom prst="rect">
            <a:avLst/>
          </a:prstGeom>
          <a:solidFill>
            <a:schemeClr val="accent4">
              <a:lumMod val="40000"/>
              <a:lumOff val="60000"/>
            </a:schemeClr>
          </a:solid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1400" b="0" i="0" u="none" strike="noStrike" kern="0" cap="none" spc="0" normalizeH="0" baseline="0" noProof="0" dirty="0">
                <a:ln>
                  <a:noFill/>
                </a:ln>
                <a:solidFill>
                  <a:srgbClr val="000000">
                    <a:lumMod val="75000"/>
                    <a:lumOff val="25000"/>
                  </a:srgbClr>
                </a:solidFill>
                <a:effectLst/>
                <a:uLnTx/>
                <a:uFillTx/>
                <a:latin typeface="Arial" panose="020B0604020202020204"/>
                <a:ea typeface="Arial Unicode MS" pitchFamily="34" charset="-128"/>
                <a:cs typeface="Arial Unicode MS" pitchFamily="34" charset="-128"/>
              </a:rPr>
              <a:t>Standardize</a:t>
            </a:r>
            <a:endParaRPr kumimoji="0" lang="en-GB" sz="1100" b="0" i="1" u="none" strike="noStrike" kern="0" cap="none" spc="0" normalizeH="0" baseline="0" noProof="0" dirty="0">
              <a:ln>
                <a:noFill/>
              </a:ln>
              <a:solidFill>
                <a:srgbClr val="000000">
                  <a:lumMod val="75000"/>
                  <a:lumOff val="25000"/>
                </a:srgbClr>
              </a:solidFill>
              <a:effectLst/>
              <a:uLnTx/>
              <a:uFillTx/>
              <a:latin typeface="Arial" panose="020B0604020202020204"/>
              <a:ea typeface="Arial Unicode MS" pitchFamily="34" charset="-128"/>
              <a:cs typeface="Arial Unicode MS" pitchFamily="34" charset="-128"/>
            </a:endParaRPr>
          </a:p>
        </p:txBody>
      </p:sp>
      <p:grpSp>
        <p:nvGrpSpPr>
          <p:cNvPr id="36" name="グループ化 35">
            <a:extLst>
              <a:ext uri="{FF2B5EF4-FFF2-40B4-BE49-F238E27FC236}">
                <a16:creationId xmlns:a16="http://schemas.microsoft.com/office/drawing/2014/main" id="{BA504EFE-71E1-20FC-7454-BD0A915DD68B}"/>
              </a:ext>
            </a:extLst>
          </p:cNvPr>
          <p:cNvGrpSpPr/>
          <p:nvPr/>
        </p:nvGrpSpPr>
        <p:grpSpPr>
          <a:xfrm>
            <a:off x="842501" y="5360020"/>
            <a:ext cx="2781674" cy="1081605"/>
            <a:chOff x="842501" y="4880336"/>
            <a:chExt cx="2781674" cy="1295485"/>
          </a:xfrm>
        </p:grpSpPr>
        <p:sp>
          <p:nvSpPr>
            <p:cNvPr id="23" name="四角形: 角を丸くする 22">
              <a:extLst>
                <a:ext uri="{FF2B5EF4-FFF2-40B4-BE49-F238E27FC236}">
                  <a16:creationId xmlns:a16="http://schemas.microsoft.com/office/drawing/2014/main" id="{FF9525EB-71E6-63AC-8EA5-38B47AB2266C}"/>
                </a:ext>
              </a:extLst>
            </p:cNvPr>
            <p:cNvSpPr/>
            <p:nvPr/>
          </p:nvSpPr>
          <p:spPr>
            <a:xfrm>
              <a:off x="842501" y="4880336"/>
              <a:ext cx="2781674" cy="1295485"/>
            </a:xfrm>
            <a:prstGeom prst="roundRect">
              <a:avLst>
                <a:gd name="adj" fmla="val 559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Potential value </a:t>
              </a:r>
              <a:r>
                <a:rPr kumimoji="1" lang="en-US" altLang="ja-JP" sz="1100" b="0" i="0" u="none" strike="noStrike" kern="1200" cap="none" spc="0" normalizeH="0" baseline="0" noProof="0" dirty="0">
                  <a:ln>
                    <a:noFill/>
                  </a:ln>
                  <a:solidFill>
                    <a:srgbClr val="FFFFFF"/>
                  </a:solidFill>
                  <a:effectLst/>
                  <a:uLnTx/>
                  <a:uFillTx/>
                  <a:latin typeface="Arial"/>
                  <a:ea typeface="游ゴシック Medium"/>
                  <a:cs typeface="+mn-cs"/>
                </a:rPr>
                <a:t>(oku-yen)</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24" name="四角形: 角を丸くする 23">
              <a:extLst>
                <a:ext uri="{FF2B5EF4-FFF2-40B4-BE49-F238E27FC236}">
                  <a16:creationId xmlns:a16="http://schemas.microsoft.com/office/drawing/2014/main" id="{904A16E3-4914-F71E-0655-233620EF5342}"/>
                </a:ext>
              </a:extLst>
            </p:cNvPr>
            <p:cNvSpPr/>
            <p:nvPr/>
          </p:nvSpPr>
          <p:spPr>
            <a:xfrm>
              <a:off x="1432637" y="5277941"/>
              <a:ext cx="1584000" cy="684000"/>
            </a:xfrm>
            <a:prstGeom prst="roundRect">
              <a:avLst>
                <a:gd name="adj" fmla="val 56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PL </a:t>
              </a:r>
              <a:r>
                <a:rPr kumimoji="1" lang="en-US" altLang="ja-JP" sz="2000" b="1" i="0" u="none" strike="noStrike" kern="1200" cap="none" spc="0" normalizeH="0" baseline="0" noProof="0" dirty="0">
                  <a:ln>
                    <a:noFill/>
                  </a:ln>
                  <a:solidFill>
                    <a:srgbClr val="003F7E"/>
                  </a:solidFill>
                  <a:effectLst/>
                  <a:uLnTx/>
                  <a:uFillTx/>
                  <a:latin typeface="Arial"/>
                  <a:ea typeface="游ゴシック Medium"/>
                  <a:cs typeface="+mn-cs"/>
                </a:rPr>
                <a:t>120</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 </a:t>
              </a:r>
              <a:r>
                <a:rPr kumimoji="1" lang="en-US" altLang="ja-JP" sz="1200" b="0" i="0" u="none" strike="noStrike" kern="1200" cap="none" spc="0" normalizeH="0" baseline="0" noProof="0" dirty="0">
                  <a:ln>
                    <a:noFill/>
                  </a:ln>
                  <a:solidFill>
                    <a:srgbClr val="003F7E"/>
                  </a:solidFill>
                  <a:effectLst/>
                  <a:uLnTx/>
                  <a:uFillTx/>
                  <a:latin typeface="Arial"/>
                  <a:ea typeface="游ゴシック Medium"/>
                  <a:cs typeface="+mn-cs"/>
                </a:rPr>
                <a:t>(5years) </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BS/CF </a:t>
              </a:r>
              <a:r>
                <a:rPr kumimoji="1" lang="en-US" altLang="ja-JP" sz="2000" b="1" i="0" u="none" strike="noStrike" kern="1200" cap="none" spc="0" normalizeH="0" baseline="0" noProof="0" dirty="0">
                  <a:ln>
                    <a:noFill/>
                  </a:ln>
                  <a:solidFill>
                    <a:srgbClr val="003F7E"/>
                  </a:solidFill>
                  <a:effectLst/>
                  <a:uLnTx/>
                  <a:uFillTx/>
                  <a:latin typeface="Arial"/>
                  <a:ea typeface="游ゴシック Medium"/>
                  <a:cs typeface="+mn-cs"/>
                </a:rPr>
                <a:t>15</a:t>
              </a:r>
              <a:endParaRPr kumimoji="1" lang="ja-JP" altLang="en-US" sz="1400" b="1" i="0" u="none" strike="noStrike" kern="1200" cap="none" spc="0" normalizeH="0" baseline="0" noProof="0" dirty="0">
                <a:ln>
                  <a:noFill/>
                </a:ln>
                <a:solidFill>
                  <a:srgbClr val="003F7E"/>
                </a:solidFill>
                <a:effectLst/>
                <a:uLnTx/>
                <a:uFillTx/>
                <a:latin typeface="Arial"/>
                <a:ea typeface="游ゴシック Medium"/>
                <a:cs typeface="+mn-cs"/>
              </a:endParaRPr>
            </a:p>
          </p:txBody>
        </p:sp>
      </p:grpSp>
      <p:grpSp>
        <p:nvGrpSpPr>
          <p:cNvPr id="35" name="グループ化 34">
            <a:extLst>
              <a:ext uri="{FF2B5EF4-FFF2-40B4-BE49-F238E27FC236}">
                <a16:creationId xmlns:a16="http://schemas.microsoft.com/office/drawing/2014/main" id="{14E1E731-2224-185A-A42F-93145A4586C8}"/>
              </a:ext>
            </a:extLst>
          </p:cNvPr>
          <p:cNvGrpSpPr/>
          <p:nvPr/>
        </p:nvGrpSpPr>
        <p:grpSpPr>
          <a:xfrm>
            <a:off x="4748366" y="5360020"/>
            <a:ext cx="2781674" cy="1081605"/>
            <a:chOff x="4704123" y="4885254"/>
            <a:chExt cx="2781674" cy="1295485"/>
          </a:xfrm>
        </p:grpSpPr>
        <p:sp>
          <p:nvSpPr>
            <p:cNvPr id="28" name="四角形: 角を丸くする 27">
              <a:extLst>
                <a:ext uri="{FF2B5EF4-FFF2-40B4-BE49-F238E27FC236}">
                  <a16:creationId xmlns:a16="http://schemas.microsoft.com/office/drawing/2014/main" id="{2263BDE0-D90A-2B6C-06B6-20345E417618}"/>
                </a:ext>
              </a:extLst>
            </p:cNvPr>
            <p:cNvSpPr/>
            <p:nvPr/>
          </p:nvSpPr>
          <p:spPr>
            <a:xfrm>
              <a:off x="4704123" y="4885254"/>
              <a:ext cx="2781674" cy="1295485"/>
            </a:xfrm>
            <a:prstGeom prst="roundRect">
              <a:avLst>
                <a:gd name="adj" fmla="val 559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Potential value </a:t>
              </a:r>
              <a:r>
                <a:rPr kumimoji="1" lang="en-US" altLang="ja-JP" sz="1100" b="0" i="0" u="none" strike="noStrike" kern="1200" cap="none" spc="0" normalizeH="0" baseline="0" noProof="0" dirty="0">
                  <a:ln>
                    <a:noFill/>
                  </a:ln>
                  <a:solidFill>
                    <a:srgbClr val="FFFFFF"/>
                  </a:solidFill>
                  <a:effectLst/>
                  <a:uLnTx/>
                  <a:uFillTx/>
                  <a:latin typeface="Arial"/>
                  <a:ea typeface="游ゴシック Medium"/>
                  <a:cs typeface="+mn-cs"/>
                </a:rPr>
                <a:t>(oku-yen)</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2" name="四角形: 角を丸くする 31">
              <a:extLst>
                <a:ext uri="{FF2B5EF4-FFF2-40B4-BE49-F238E27FC236}">
                  <a16:creationId xmlns:a16="http://schemas.microsoft.com/office/drawing/2014/main" id="{891FA326-8C5C-46DE-C7ED-1FA18E52F8C8}"/>
                </a:ext>
              </a:extLst>
            </p:cNvPr>
            <p:cNvSpPr/>
            <p:nvPr/>
          </p:nvSpPr>
          <p:spPr>
            <a:xfrm>
              <a:off x="5294259" y="5282859"/>
              <a:ext cx="1584000" cy="684000"/>
            </a:xfrm>
            <a:prstGeom prst="roundRect">
              <a:avLst>
                <a:gd name="adj" fmla="val 56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PL </a:t>
              </a:r>
              <a:r>
                <a:rPr kumimoji="1" lang="en-US" altLang="ja-JP" sz="2000" b="1" i="0" u="none" strike="noStrike" kern="1200" cap="none" spc="0" normalizeH="0" baseline="0" noProof="0" dirty="0">
                  <a:ln>
                    <a:noFill/>
                  </a:ln>
                  <a:solidFill>
                    <a:srgbClr val="003F7E"/>
                  </a:solidFill>
                  <a:effectLst/>
                  <a:uLnTx/>
                  <a:uFillTx/>
                  <a:latin typeface="Arial"/>
                  <a:ea typeface="游ゴシック Medium"/>
                  <a:cs typeface="+mn-cs"/>
                </a:rPr>
                <a:t>81</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 </a:t>
              </a:r>
              <a:r>
                <a:rPr kumimoji="1" lang="en-US" altLang="ja-JP" sz="1200" b="0" i="0" u="none" strike="noStrike" kern="1200" cap="none" spc="0" normalizeH="0" baseline="0" noProof="0" dirty="0">
                  <a:ln>
                    <a:noFill/>
                  </a:ln>
                  <a:solidFill>
                    <a:srgbClr val="003F7E"/>
                  </a:solidFill>
                  <a:effectLst/>
                  <a:uLnTx/>
                  <a:uFillTx/>
                  <a:latin typeface="Arial"/>
                  <a:ea typeface="游ゴシック Medium"/>
                  <a:cs typeface="+mn-cs"/>
                </a:rPr>
                <a:t>(5years) </a:t>
              </a:r>
              <a:r>
                <a:rPr kumimoji="1" lang="en-US" altLang="ja-JP" sz="1400" b="0" i="0" u="none" strike="noStrike" kern="1200" cap="none" spc="0" normalizeH="0" baseline="0" noProof="0" dirty="0">
                  <a:ln>
                    <a:noFill/>
                  </a:ln>
                  <a:solidFill>
                    <a:srgbClr val="003F7E"/>
                  </a:solidFill>
                  <a:effectLst/>
                  <a:uLnTx/>
                  <a:uFillTx/>
                  <a:latin typeface="Arial"/>
                  <a:ea typeface="游ゴシック Medium"/>
                  <a:cs typeface="+mn-cs"/>
                </a:rPr>
                <a:t>BS/CF </a:t>
              </a:r>
              <a:r>
                <a:rPr kumimoji="1" lang="en-US" altLang="ja-JP" sz="2000" b="1" i="0" u="none" strike="noStrike" kern="1200" cap="none" spc="0" normalizeH="0" baseline="0" noProof="0" dirty="0">
                  <a:ln>
                    <a:noFill/>
                  </a:ln>
                  <a:solidFill>
                    <a:srgbClr val="003F7E"/>
                  </a:solidFill>
                  <a:effectLst/>
                  <a:uLnTx/>
                  <a:uFillTx/>
                  <a:latin typeface="Arial"/>
                  <a:ea typeface="游ゴシック Medium"/>
                  <a:cs typeface="+mn-cs"/>
                </a:rPr>
                <a:t>82</a:t>
              </a:r>
              <a:endParaRPr kumimoji="1" lang="ja-JP" altLang="en-US" sz="1400" b="1" i="0" u="none" strike="noStrike" kern="1200" cap="none" spc="0" normalizeH="0" baseline="0" noProof="0" dirty="0">
                <a:ln>
                  <a:noFill/>
                </a:ln>
                <a:solidFill>
                  <a:srgbClr val="003F7E"/>
                </a:solidFill>
                <a:effectLst/>
                <a:uLnTx/>
                <a:uFillTx/>
                <a:latin typeface="Arial"/>
                <a:ea typeface="游ゴシック Medium"/>
                <a:cs typeface="+mn-cs"/>
              </a:endParaRPr>
            </a:p>
          </p:txBody>
        </p:sp>
      </p:grpSp>
      <p:grpSp>
        <p:nvGrpSpPr>
          <p:cNvPr id="37" name="グループ化 36">
            <a:extLst>
              <a:ext uri="{FF2B5EF4-FFF2-40B4-BE49-F238E27FC236}">
                <a16:creationId xmlns:a16="http://schemas.microsoft.com/office/drawing/2014/main" id="{9F5595D3-589F-1AF7-CEAE-0630EE7D0DC8}"/>
              </a:ext>
            </a:extLst>
          </p:cNvPr>
          <p:cNvGrpSpPr/>
          <p:nvPr/>
        </p:nvGrpSpPr>
        <p:grpSpPr>
          <a:xfrm>
            <a:off x="8573116" y="5360020"/>
            <a:ext cx="2781674" cy="1081605"/>
            <a:chOff x="8462505" y="4956536"/>
            <a:chExt cx="2781674" cy="1295485"/>
          </a:xfrm>
        </p:grpSpPr>
        <p:sp>
          <p:nvSpPr>
            <p:cNvPr id="33" name="四角形: 角を丸くする 32">
              <a:extLst>
                <a:ext uri="{FF2B5EF4-FFF2-40B4-BE49-F238E27FC236}">
                  <a16:creationId xmlns:a16="http://schemas.microsoft.com/office/drawing/2014/main" id="{AFA691AB-60E5-B824-FE03-6EEE15D9C651}"/>
                </a:ext>
              </a:extLst>
            </p:cNvPr>
            <p:cNvSpPr/>
            <p:nvPr/>
          </p:nvSpPr>
          <p:spPr>
            <a:xfrm>
              <a:off x="8462505" y="4956536"/>
              <a:ext cx="2781674" cy="1295485"/>
            </a:xfrm>
            <a:prstGeom prst="roundRect">
              <a:avLst>
                <a:gd name="adj" fmla="val 5590"/>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Potential value </a:t>
              </a:r>
              <a:r>
                <a:rPr kumimoji="1" lang="en-US" altLang="ja-JP" sz="1100" b="0" i="0" u="none" strike="noStrike" kern="1200" cap="none" spc="0" normalizeH="0" baseline="0" noProof="0" dirty="0">
                  <a:ln>
                    <a:noFill/>
                  </a:ln>
                  <a:solidFill>
                    <a:srgbClr val="FFFFFF"/>
                  </a:solidFill>
                  <a:effectLst/>
                  <a:uLnTx/>
                  <a:uFillTx/>
                  <a:latin typeface="Arial"/>
                  <a:ea typeface="游ゴシック Medium"/>
                  <a:cs typeface="+mn-cs"/>
                </a:rPr>
                <a:t>(oku-yen)</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4" name="四角形: 角を丸くする 33">
              <a:extLst>
                <a:ext uri="{FF2B5EF4-FFF2-40B4-BE49-F238E27FC236}">
                  <a16:creationId xmlns:a16="http://schemas.microsoft.com/office/drawing/2014/main" id="{BF2C1ACD-8647-1B88-604C-CD01DCB5B735}"/>
                </a:ext>
              </a:extLst>
            </p:cNvPr>
            <p:cNvSpPr/>
            <p:nvPr/>
          </p:nvSpPr>
          <p:spPr>
            <a:xfrm>
              <a:off x="9052641" y="5354141"/>
              <a:ext cx="1584000" cy="684000"/>
            </a:xfrm>
            <a:prstGeom prst="roundRect">
              <a:avLst>
                <a:gd name="adj" fmla="val 56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8A9093"/>
                  </a:solidFill>
                  <a:effectLst/>
                  <a:uLnTx/>
                  <a:uFillTx/>
                  <a:latin typeface="Arial"/>
                  <a:ea typeface="游ゴシック Medium"/>
                  <a:cs typeface="+mn-cs"/>
                </a:rPr>
                <a:t>PL </a:t>
              </a:r>
              <a:r>
                <a:rPr kumimoji="1" lang="en-US" altLang="ja-JP" sz="2000" b="1" i="0" u="none" strike="noStrike" kern="1200" cap="none" spc="0" normalizeH="0" baseline="0" noProof="0" dirty="0">
                  <a:ln>
                    <a:noFill/>
                  </a:ln>
                  <a:solidFill>
                    <a:srgbClr val="8A9093"/>
                  </a:solidFill>
                  <a:effectLst/>
                  <a:uLnTx/>
                  <a:uFillTx/>
                  <a:latin typeface="Arial"/>
                  <a:ea typeface="游ゴシック Medium"/>
                  <a:cs typeface="+mn-cs"/>
                </a:rPr>
                <a:t>518</a:t>
              </a:r>
              <a:r>
                <a:rPr kumimoji="1" lang="en-US" altLang="ja-JP" sz="1400" b="0" i="0" u="none" strike="noStrike" kern="1200" cap="none" spc="0" normalizeH="0" baseline="0" noProof="0" dirty="0">
                  <a:ln>
                    <a:noFill/>
                  </a:ln>
                  <a:solidFill>
                    <a:srgbClr val="8A9093"/>
                  </a:solidFill>
                  <a:effectLst/>
                  <a:uLnTx/>
                  <a:uFillTx/>
                  <a:latin typeface="Arial"/>
                  <a:ea typeface="游ゴシック Medium"/>
                  <a:cs typeface="+mn-cs"/>
                </a:rPr>
                <a:t> </a:t>
              </a:r>
              <a:r>
                <a:rPr kumimoji="1" lang="en-US" altLang="ja-JP" sz="1200" b="0" i="0" u="none" strike="noStrike" kern="1200" cap="none" spc="0" normalizeH="0" baseline="0" noProof="0" dirty="0">
                  <a:ln>
                    <a:noFill/>
                  </a:ln>
                  <a:solidFill>
                    <a:srgbClr val="8A9093"/>
                  </a:solidFill>
                  <a:effectLst/>
                  <a:uLnTx/>
                  <a:uFillTx/>
                  <a:latin typeface="Arial"/>
                  <a:ea typeface="游ゴシック Medium"/>
                  <a:cs typeface="+mn-cs"/>
                </a:rPr>
                <a:t>(5years) </a:t>
              </a:r>
              <a:r>
                <a:rPr kumimoji="1" lang="en-US" altLang="ja-JP" sz="1400" b="0" i="0" u="none" strike="noStrike" kern="1200" cap="none" spc="0" normalizeH="0" baseline="0" noProof="0" dirty="0">
                  <a:ln>
                    <a:noFill/>
                  </a:ln>
                  <a:solidFill>
                    <a:srgbClr val="8A9093"/>
                  </a:solidFill>
                  <a:effectLst/>
                  <a:uLnTx/>
                  <a:uFillTx/>
                  <a:latin typeface="Arial"/>
                  <a:ea typeface="游ゴシック Medium"/>
                  <a:cs typeface="+mn-cs"/>
                </a:rPr>
                <a:t>BS/CF </a:t>
              </a:r>
              <a:r>
                <a:rPr kumimoji="1" lang="en-US" altLang="ja-JP" sz="2000" b="1" i="0" u="none" strike="noStrike" kern="1200" cap="none" spc="0" normalizeH="0" baseline="0" noProof="0" dirty="0">
                  <a:ln>
                    <a:noFill/>
                  </a:ln>
                  <a:solidFill>
                    <a:srgbClr val="8A9093"/>
                  </a:solidFill>
                  <a:effectLst/>
                  <a:uLnTx/>
                  <a:uFillTx/>
                  <a:latin typeface="Arial"/>
                  <a:ea typeface="游ゴシック Medium"/>
                  <a:cs typeface="+mn-cs"/>
                </a:rPr>
                <a:t>222</a:t>
              </a:r>
              <a:endParaRPr kumimoji="1" lang="ja-JP" altLang="en-US" sz="1400" b="1" i="0" u="none" strike="noStrike" kern="1200" cap="none" spc="0" normalizeH="0" baseline="0" noProof="0" dirty="0">
                <a:ln>
                  <a:noFill/>
                </a:ln>
                <a:solidFill>
                  <a:srgbClr val="8A9093"/>
                </a:solidFill>
                <a:effectLst/>
                <a:uLnTx/>
                <a:uFillTx/>
                <a:latin typeface="Arial"/>
                <a:ea typeface="游ゴシック Medium"/>
                <a:cs typeface="+mn-cs"/>
              </a:endParaRPr>
            </a:p>
          </p:txBody>
        </p:sp>
      </p:grpSp>
    </p:spTree>
    <p:extLst>
      <p:ext uri="{BB962C8B-B14F-4D97-AF65-F5344CB8AC3E}">
        <p14:creationId xmlns:p14="http://schemas.microsoft.com/office/powerpoint/2010/main" val="3764549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AEAD2EB-41C5-DECC-ADFB-B9D327A5B90C}"/>
              </a:ext>
            </a:extLst>
          </p:cNvPr>
          <p:cNvSpPr>
            <a:spLocks noGrp="1"/>
          </p:cNvSpPr>
          <p:nvPr>
            <p:ph type="title"/>
          </p:nvPr>
        </p:nvSpPr>
        <p:spPr/>
        <p:txBody>
          <a:bodyPr/>
          <a:lstStyle/>
          <a:p>
            <a:r>
              <a:rPr kumimoji="1" lang="en-US" altLang="ja-JP" dirty="0"/>
              <a:t>Goal of Mone-G : Basic Transformation</a:t>
            </a:r>
            <a:endParaRPr kumimoji="1" lang="ja-JP" altLang="en-US" dirty="0"/>
          </a:p>
        </p:txBody>
      </p:sp>
      <p:sp>
        <p:nvSpPr>
          <p:cNvPr id="2" name="スライド番号プレースホルダー 1">
            <a:extLst>
              <a:ext uri="{FF2B5EF4-FFF2-40B4-BE49-F238E27FC236}">
                <a16:creationId xmlns:a16="http://schemas.microsoft.com/office/drawing/2014/main" id="{D4A67BB6-EC9D-61D2-83B6-62F67415BF8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3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1" lang="ja-JP" altLang="en-US" sz="113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3" name="フッター プレースホルダー 2">
            <a:extLst>
              <a:ext uri="{FF2B5EF4-FFF2-40B4-BE49-F238E27FC236}">
                <a16:creationId xmlns:a16="http://schemas.microsoft.com/office/drawing/2014/main" id="{5ED72288-2888-0EBB-C664-ADF44E9A07C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16" name="正方形/長方形 15">
            <a:extLst>
              <a:ext uri="{FF2B5EF4-FFF2-40B4-BE49-F238E27FC236}">
                <a16:creationId xmlns:a16="http://schemas.microsoft.com/office/drawing/2014/main" id="{4535079E-0264-F36C-9F7A-0972E96C44B7}"/>
              </a:ext>
            </a:extLst>
          </p:cNvPr>
          <p:cNvSpPr/>
          <p:nvPr/>
        </p:nvSpPr>
        <p:spPr>
          <a:xfrm>
            <a:off x="2004307" y="1844597"/>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Establish a permanent organization to maintain and improve standard business processes and systems</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17" name="正方形/長方形 16">
            <a:extLst>
              <a:ext uri="{FF2B5EF4-FFF2-40B4-BE49-F238E27FC236}">
                <a16:creationId xmlns:a16="http://schemas.microsoft.com/office/drawing/2014/main" id="{682B9AC5-4968-2C06-76D3-BE053447C94E}"/>
              </a:ext>
            </a:extLst>
          </p:cNvPr>
          <p:cNvSpPr/>
          <p:nvPr/>
        </p:nvSpPr>
        <p:spPr>
          <a:xfrm>
            <a:off x="2004307" y="2622251"/>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Define and deploy standard business processes based on </a:t>
            </a: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SAP </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best practices</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18" name="正方形/長方形 17">
            <a:extLst>
              <a:ext uri="{FF2B5EF4-FFF2-40B4-BE49-F238E27FC236}">
                <a16:creationId xmlns:a16="http://schemas.microsoft.com/office/drawing/2014/main" id="{32A2151C-6D0D-0505-2E5C-340B440B9BAC}"/>
              </a:ext>
            </a:extLst>
          </p:cNvPr>
          <p:cNvSpPr/>
          <p:nvPr/>
        </p:nvSpPr>
        <p:spPr>
          <a:xfrm>
            <a:off x="2004307" y="4955213"/>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Establish rules for internal cost sharing in management accounting for infrastructure development costs.</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19" name="正方形/長方形 18">
            <a:extLst>
              <a:ext uri="{FF2B5EF4-FFF2-40B4-BE49-F238E27FC236}">
                <a16:creationId xmlns:a16="http://schemas.microsoft.com/office/drawing/2014/main" id="{3EB6ED2D-E42D-0042-0EE9-21045292E5C4}"/>
              </a:ext>
            </a:extLst>
          </p:cNvPr>
          <p:cNvSpPr/>
          <p:nvPr/>
        </p:nvSpPr>
        <p:spPr>
          <a:xfrm>
            <a:off x="2004307" y="4177559"/>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Development</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 and deployment of </a:t>
            </a: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SAP S/4 HANA </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standard template</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20" name="正方形/長方形 19">
            <a:extLst>
              <a:ext uri="{FF2B5EF4-FFF2-40B4-BE49-F238E27FC236}">
                <a16:creationId xmlns:a16="http://schemas.microsoft.com/office/drawing/2014/main" id="{476E8434-D0FC-C043-B9CF-372E8A0A8CFC}"/>
              </a:ext>
            </a:extLst>
          </p:cNvPr>
          <p:cNvSpPr/>
          <p:nvPr/>
        </p:nvSpPr>
        <p:spPr>
          <a:xfrm>
            <a:off x="2004307" y="5688476"/>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Shift to new way of </a:t>
            </a: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working</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 </a:t>
            </a: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with understanding of the transformation and new mindset </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through workshops</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21" name="テキスト プレースホルダー 3">
            <a:extLst>
              <a:ext uri="{FF2B5EF4-FFF2-40B4-BE49-F238E27FC236}">
                <a16:creationId xmlns:a16="http://schemas.microsoft.com/office/drawing/2014/main" id="{51201396-60C3-C917-CB34-AA7251B8C3AB}"/>
              </a:ext>
            </a:extLst>
          </p:cNvPr>
          <p:cNvSpPr txBox="1">
            <a:spLocks/>
          </p:cNvSpPr>
          <p:nvPr/>
        </p:nvSpPr>
        <p:spPr>
          <a:xfrm>
            <a:off x="325521" y="849868"/>
            <a:ext cx="10744933" cy="369332"/>
          </a:xfrm>
          <a:prstGeom prst="rect">
            <a:avLst/>
          </a:prstGeom>
        </p:spPr>
        <p:txBody>
          <a:bodyPr>
            <a:normAutofit/>
          </a:bodyPr>
          <a:lstStyle>
            <a:lvl1pPr marL="0" indent="0" algn="l" defTabSz="914400" rtl="0" eaLnBrk="1" latinLnBrk="0" hangingPunct="1">
              <a:lnSpc>
                <a:spcPct val="100000"/>
              </a:lnSpc>
              <a:spcBef>
                <a:spcPts val="1000"/>
              </a:spcBef>
              <a:buFont typeface="Arial" panose="020B0604020202020204" pitchFamily="34" charset="0"/>
              <a:buNone/>
              <a:defRPr kumimoji="1" sz="2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22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8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0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1" lang="en-US" altLang="ja-JP" sz="1600" b="0" i="0" u="none" strike="noStrike" kern="1200" cap="none" spc="0" normalizeH="0" baseline="0" noProof="0" dirty="0">
                <a:ln>
                  <a:noFill/>
                </a:ln>
                <a:solidFill>
                  <a:srgbClr val="000000"/>
                </a:solidFill>
                <a:effectLst/>
                <a:uLnTx/>
                <a:uFillTx/>
                <a:latin typeface="Arial"/>
                <a:ea typeface="游ゴシック Medium"/>
                <a:cs typeface="+mn-cs"/>
              </a:rPr>
              <a:t>Organizations, processes, data, systems, rules, and people are key success factors to achieve potential value.</a:t>
            </a:r>
          </a:p>
        </p:txBody>
      </p:sp>
      <p:sp>
        <p:nvSpPr>
          <p:cNvPr id="26" name="正方形/長方形 25">
            <a:extLst>
              <a:ext uri="{FF2B5EF4-FFF2-40B4-BE49-F238E27FC236}">
                <a16:creationId xmlns:a16="http://schemas.microsoft.com/office/drawing/2014/main" id="{724FDD7C-B6B0-CAD0-DFF5-E3E08FF115F1}"/>
              </a:ext>
            </a:extLst>
          </p:cNvPr>
          <p:cNvSpPr/>
          <p:nvPr/>
        </p:nvSpPr>
        <p:spPr>
          <a:xfrm>
            <a:off x="2004307" y="3399905"/>
            <a:ext cx="4251910" cy="50400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Build data governance, unify data granularity (use same data across </a:t>
            </a:r>
            <a:r>
              <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rPr>
              <a:t>MCG</a:t>
            </a:r>
            <a:r>
              <a:rPr kumimoji="1" lang="ja-JP" altLang="en-US" sz="1200" b="0" i="0" u="none" strike="noStrike" kern="1200" cap="none" spc="0" normalizeH="0" baseline="0" noProof="0" dirty="0">
                <a:ln>
                  <a:noFill/>
                </a:ln>
                <a:solidFill>
                  <a:srgbClr val="000000"/>
                </a:solidFill>
                <a:effectLst/>
                <a:uLnTx/>
                <a:uFillTx/>
                <a:latin typeface="Arial"/>
                <a:ea typeface="游ゴシック Medium"/>
                <a:cs typeface="+mn-cs"/>
              </a:rPr>
              <a:t>), link to management reports</a:t>
            </a:r>
            <a:endParaRPr kumimoji="1" lang="en-US" altLang="ja-JP" sz="12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0" name="四角形: 角を丸くする 29">
            <a:extLst>
              <a:ext uri="{FF2B5EF4-FFF2-40B4-BE49-F238E27FC236}">
                <a16:creationId xmlns:a16="http://schemas.microsoft.com/office/drawing/2014/main" id="{CEFD43EE-A362-87F1-19D9-E6147615BD94}"/>
              </a:ext>
            </a:extLst>
          </p:cNvPr>
          <p:cNvSpPr/>
          <p:nvPr/>
        </p:nvSpPr>
        <p:spPr>
          <a:xfrm>
            <a:off x="343277" y="1323576"/>
            <a:ext cx="5912939" cy="410662"/>
          </a:xfrm>
          <a:prstGeom prst="roundRect">
            <a:avLst>
              <a:gd name="adj" fmla="val 11824"/>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Key success factors for Basic Transformation</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1" name="四角形: 角を丸くする 30">
            <a:extLst>
              <a:ext uri="{FF2B5EF4-FFF2-40B4-BE49-F238E27FC236}">
                <a16:creationId xmlns:a16="http://schemas.microsoft.com/office/drawing/2014/main" id="{05E2ADA9-7417-530B-3C6A-4A9CEF991273}"/>
              </a:ext>
            </a:extLst>
          </p:cNvPr>
          <p:cNvSpPr/>
          <p:nvPr/>
        </p:nvSpPr>
        <p:spPr>
          <a:xfrm>
            <a:off x="343277" y="1844597"/>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Organization</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2" name="四角形: 角を丸くする 31">
            <a:extLst>
              <a:ext uri="{FF2B5EF4-FFF2-40B4-BE49-F238E27FC236}">
                <a16:creationId xmlns:a16="http://schemas.microsoft.com/office/drawing/2014/main" id="{2255B12A-0599-3D04-E7D7-AFE6077004E5}"/>
              </a:ext>
            </a:extLst>
          </p:cNvPr>
          <p:cNvSpPr/>
          <p:nvPr/>
        </p:nvSpPr>
        <p:spPr>
          <a:xfrm>
            <a:off x="343277" y="2613558"/>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Processes</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3" name="四角形: 角を丸くする 32">
            <a:extLst>
              <a:ext uri="{FF2B5EF4-FFF2-40B4-BE49-F238E27FC236}">
                <a16:creationId xmlns:a16="http://schemas.microsoft.com/office/drawing/2014/main" id="{39BD8770-C6A1-76D2-C9FB-672AE9EF676B}"/>
              </a:ext>
            </a:extLst>
          </p:cNvPr>
          <p:cNvSpPr/>
          <p:nvPr/>
        </p:nvSpPr>
        <p:spPr>
          <a:xfrm>
            <a:off x="343277" y="3382519"/>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Data</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4" name="四角形: 角を丸くする 33">
            <a:extLst>
              <a:ext uri="{FF2B5EF4-FFF2-40B4-BE49-F238E27FC236}">
                <a16:creationId xmlns:a16="http://schemas.microsoft.com/office/drawing/2014/main" id="{8516897C-B5D4-305B-BAE7-45025D5E8DEA}"/>
              </a:ext>
            </a:extLst>
          </p:cNvPr>
          <p:cNvSpPr/>
          <p:nvPr/>
        </p:nvSpPr>
        <p:spPr>
          <a:xfrm>
            <a:off x="343277" y="4151480"/>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Systems</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5" name="四角形: 角を丸くする 34">
            <a:extLst>
              <a:ext uri="{FF2B5EF4-FFF2-40B4-BE49-F238E27FC236}">
                <a16:creationId xmlns:a16="http://schemas.microsoft.com/office/drawing/2014/main" id="{11705CCC-0598-7263-3A99-B9C05327CD63}"/>
              </a:ext>
            </a:extLst>
          </p:cNvPr>
          <p:cNvSpPr/>
          <p:nvPr/>
        </p:nvSpPr>
        <p:spPr>
          <a:xfrm>
            <a:off x="343277" y="4920441"/>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Rules</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6" name="四角形: 角を丸くする 35">
            <a:extLst>
              <a:ext uri="{FF2B5EF4-FFF2-40B4-BE49-F238E27FC236}">
                <a16:creationId xmlns:a16="http://schemas.microsoft.com/office/drawing/2014/main" id="{7FD0ABF0-7FE6-7AB1-9FF1-B25948C07A20}"/>
              </a:ext>
            </a:extLst>
          </p:cNvPr>
          <p:cNvSpPr/>
          <p:nvPr/>
        </p:nvSpPr>
        <p:spPr>
          <a:xfrm>
            <a:off x="343277" y="5689404"/>
            <a:ext cx="1538790" cy="504000"/>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People</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7" name="三角形 142">
            <a:extLst>
              <a:ext uri="{FF2B5EF4-FFF2-40B4-BE49-F238E27FC236}">
                <a16:creationId xmlns:a16="http://schemas.microsoft.com/office/drawing/2014/main" id="{FAD1E9E9-343D-0030-C0AE-F3D3891EECB8}"/>
              </a:ext>
            </a:extLst>
          </p:cNvPr>
          <p:cNvSpPr/>
          <p:nvPr/>
        </p:nvSpPr>
        <p:spPr>
          <a:xfrm rot="5400000">
            <a:off x="6217201" y="5034424"/>
            <a:ext cx="712145" cy="258730"/>
          </a:xfrm>
          <a:prstGeom prst="triangle">
            <a:avLst/>
          </a:prstGeom>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39" name="楕円 38">
            <a:extLst>
              <a:ext uri="{FF2B5EF4-FFF2-40B4-BE49-F238E27FC236}">
                <a16:creationId xmlns:a16="http://schemas.microsoft.com/office/drawing/2014/main" id="{79A669B4-844A-F57E-561E-985C26409C2D}"/>
              </a:ext>
            </a:extLst>
          </p:cNvPr>
          <p:cNvSpPr/>
          <p:nvPr/>
        </p:nvSpPr>
        <p:spPr>
          <a:xfrm>
            <a:off x="6792790" y="4079100"/>
            <a:ext cx="2254927" cy="2147569"/>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Globally standardized end-to-end process, ERP system, and data</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41" name="三角形 142">
            <a:extLst>
              <a:ext uri="{FF2B5EF4-FFF2-40B4-BE49-F238E27FC236}">
                <a16:creationId xmlns:a16="http://schemas.microsoft.com/office/drawing/2014/main" id="{4DF01C65-9BA9-4905-87A1-E6897E9457D8}"/>
              </a:ext>
            </a:extLst>
          </p:cNvPr>
          <p:cNvSpPr/>
          <p:nvPr/>
        </p:nvSpPr>
        <p:spPr>
          <a:xfrm rot="1953075">
            <a:off x="8496643" y="4054589"/>
            <a:ext cx="653916" cy="244921"/>
          </a:xfrm>
          <a:prstGeom prst="triangle">
            <a:avLst/>
          </a:prstGeom>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Arial"/>
              <a:ea typeface="游ゴシック Medium"/>
              <a:cs typeface="+mn-cs"/>
            </a:endParaRPr>
          </a:p>
        </p:txBody>
      </p:sp>
      <p:grpSp>
        <p:nvGrpSpPr>
          <p:cNvPr id="43" name="グループ化 42">
            <a:extLst>
              <a:ext uri="{FF2B5EF4-FFF2-40B4-BE49-F238E27FC236}">
                <a16:creationId xmlns:a16="http://schemas.microsoft.com/office/drawing/2014/main" id="{5CC2F225-2F75-6A36-F382-62554CDF7595}"/>
              </a:ext>
            </a:extLst>
          </p:cNvPr>
          <p:cNvGrpSpPr/>
          <p:nvPr/>
        </p:nvGrpSpPr>
        <p:grpSpPr>
          <a:xfrm>
            <a:off x="8423995" y="1099643"/>
            <a:ext cx="3491884" cy="3385998"/>
            <a:chOff x="8459507" y="966477"/>
            <a:chExt cx="3491884" cy="3385998"/>
          </a:xfrm>
        </p:grpSpPr>
        <p:sp>
          <p:nvSpPr>
            <p:cNvPr id="40" name="楕円 39">
              <a:extLst>
                <a:ext uri="{FF2B5EF4-FFF2-40B4-BE49-F238E27FC236}">
                  <a16:creationId xmlns:a16="http://schemas.microsoft.com/office/drawing/2014/main" id="{45966A61-00F9-A4DF-30FD-5F3DFD768608}"/>
                </a:ext>
              </a:extLst>
            </p:cNvPr>
            <p:cNvSpPr/>
            <p:nvPr/>
          </p:nvSpPr>
          <p:spPr>
            <a:xfrm>
              <a:off x="8459507" y="966477"/>
              <a:ext cx="3491884" cy="3385998"/>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b" anchorCtr="0"/>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Data-driven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Strengthening governa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Optimized, simple, and modernized business proc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FFFFFF"/>
                  </a:solidFill>
                  <a:effectLst/>
                  <a:uLnTx/>
                  <a:uFillTx/>
                  <a:latin typeface="Arial"/>
                  <a:ea typeface="游ゴシック Medium"/>
                  <a:cs typeface="+mn-cs"/>
                </a:rPr>
                <a:t>Cost reduction, CF improvement</a:t>
              </a:r>
              <a:endParaRPr kumimoji="1" lang="ja-JP" altLang="en-US" sz="1400" b="0" i="0" u="none" strike="noStrike" kern="1200" cap="none" spc="0" normalizeH="0" baseline="0" noProof="0" dirty="0">
                <a:ln>
                  <a:noFill/>
                </a:ln>
                <a:solidFill>
                  <a:srgbClr val="FFFFFF"/>
                </a:solidFill>
                <a:effectLst/>
                <a:uLnTx/>
                <a:uFillTx/>
                <a:latin typeface="Arial"/>
                <a:ea typeface="游ゴシック Medium"/>
                <a:cs typeface="+mn-cs"/>
              </a:endParaRPr>
            </a:p>
          </p:txBody>
        </p:sp>
        <p:sp>
          <p:nvSpPr>
            <p:cNvPr id="42" name="四角形: 角を丸くする 41">
              <a:extLst>
                <a:ext uri="{FF2B5EF4-FFF2-40B4-BE49-F238E27FC236}">
                  <a16:creationId xmlns:a16="http://schemas.microsoft.com/office/drawing/2014/main" id="{B447F865-8D85-1C86-240C-9C531ABFDBEA}"/>
                </a:ext>
              </a:extLst>
            </p:cNvPr>
            <p:cNvSpPr/>
            <p:nvPr/>
          </p:nvSpPr>
          <p:spPr>
            <a:xfrm>
              <a:off x="9369274" y="1295643"/>
              <a:ext cx="1802167" cy="410662"/>
            </a:xfrm>
            <a:prstGeom prst="roundRect">
              <a:avLst>
                <a:gd name="adj" fmla="val 11824"/>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FFFFFF"/>
                  </a:solidFill>
                  <a:effectLst/>
                  <a:uLnTx/>
                  <a:uFillTx/>
                  <a:latin typeface="Arial"/>
                  <a:ea typeface="游ゴシック Medium"/>
                  <a:cs typeface="+mn-cs"/>
                </a:rPr>
                <a:t>Potential value</a:t>
              </a:r>
              <a:endParaRPr kumimoji="1" lang="ja-JP" altLang="en-US" sz="1600" b="0" i="0" u="none" strike="noStrike" kern="1200" cap="none" spc="0" normalizeH="0" baseline="0" noProof="0" dirty="0">
                <a:ln>
                  <a:noFill/>
                </a:ln>
                <a:solidFill>
                  <a:srgbClr val="FFFFFF"/>
                </a:solidFill>
                <a:effectLst/>
                <a:uLnTx/>
                <a:uFillTx/>
                <a:latin typeface="Arial"/>
                <a:ea typeface="游ゴシック Medium"/>
                <a:cs typeface="+mn-cs"/>
              </a:endParaRPr>
            </a:p>
          </p:txBody>
        </p:sp>
      </p:grpSp>
    </p:spTree>
    <p:extLst>
      <p:ext uri="{BB962C8B-B14F-4D97-AF65-F5344CB8AC3E}">
        <p14:creationId xmlns:p14="http://schemas.microsoft.com/office/powerpoint/2010/main" val="1811010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BC85EC-177F-BF6C-AE20-787F644083BB}"/>
              </a:ext>
            </a:extLst>
          </p:cNvPr>
          <p:cNvSpPr>
            <a:spLocks noGrp="1"/>
          </p:cNvSpPr>
          <p:nvPr>
            <p:ph type="title"/>
          </p:nvPr>
        </p:nvSpPr>
        <p:spPr/>
        <p:txBody>
          <a:bodyPr/>
          <a:lstStyle/>
          <a:p>
            <a:r>
              <a:rPr lang="en-US" altLang="ja-JP" dirty="0"/>
              <a:t>Scope of Mone-G</a:t>
            </a:r>
            <a:endParaRPr kumimoji="1" lang="ja-JP" altLang="en-US" dirty="0"/>
          </a:p>
        </p:txBody>
      </p:sp>
      <p:sp>
        <p:nvSpPr>
          <p:cNvPr id="3" name="スライド番号プレースホルダー 2">
            <a:extLst>
              <a:ext uri="{FF2B5EF4-FFF2-40B4-BE49-F238E27FC236}">
                <a16:creationId xmlns:a16="http://schemas.microsoft.com/office/drawing/2014/main" id="{D4E47D6F-D0DE-1BBB-2F60-BC839E10A2B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394356-8693-4048-8EAF-2BF05B04AA80}" type="slidenum">
              <a:rPr kumimoji="1" lang="ja-JP" altLang="en-US" sz="1100" b="0" i="0" u="none" strike="noStrike" kern="1200" cap="none" spc="0" normalizeH="0" baseline="0" noProof="0" smtClean="0">
                <a:ln>
                  <a:noFill/>
                </a:ln>
                <a:solidFill>
                  <a:srgbClr val="000000"/>
                </a:solidFill>
                <a:effectLst/>
                <a:uLnTx/>
                <a:uFillTx/>
                <a:latin typeface="Arial"/>
                <a:ea typeface="游ゴシック Medium"/>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1" lang="ja-JP" altLang="en-US" sz="11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4" name="テキスト プレースホルダー 3">
            <a:extLst>
              <a:ext uri="{FF2B5EF4-FFF2-40B4-BE49-F238E27FC236}">
                <a16:creationId xmlns:a16="http://schemas.microsoft.com/office/drawing/2014/main" id="{92FB036F-DCA8-F3DE-5798-640DDA80BE8F}"/>
              </a:ext>
            </a:extLst>
          </p:cNvPr>
          <p:cNvSpPr>
            <a:spLocks noGrp="1"/>
          </p:cNvSpPr>
          <p:nvPr>
            <p:ph type="body" sz="quarter" idx="11"/>
          </p:nvPr>
        </p:nvSpPr>
        <p:spPr/>
        <p:txBody>
          <a:bodyPr>
            <a:normAutofit/>
          </a:bodyPr>
          <a:lstStyle/>
          <a:p>
            <a:pPr marL="285750" indent="-285750">
              <a:buFont typeface="Wingdings" panose="05000000000000000000" pitchFamily="2" charset="2"/>
              <a:buChar char="ü"/>
            </a:pPr>
            <a:r>
              <a:rPr kumimoji="1" lang="en-US" altLang="ja-JP" dirty="0"/>
              <a:t>Order to Cash, Procure to Pay, Demand to Supply, and Finance to Manage are the scope of Mone-G</a:t>
            </a:r>
          </a:p>
        </p:txBody>
      </p:sp>
      <p:sp>
        <p:nvSpPr>
          <p:cNvPr id="5" name="フッター プレースホルダー 4">
            <a:extLst>
              <a:ext uri="{FF2B5EF4-FFF2-40B4-BE49-F238E27FC236}">
                <a16:creationId xmlns:a16="http://schemas.microsoft.com/office/drawing/2014/main" id="{85CE5F70-C9C9-A344-068B-0ED787534B6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游ゴシック Medium"/>
                <a:cs typeface="+mn-cs"/>
              </a:rPr>
              <a:t>Mitsubishi Chemical Group Corporation   </a:t>
            </a: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25" name="矢印: 山形 6">
            <a:extLst>
              <a:ext uri="{FF2B5EF4-FFF2-40B4-BE49-F238E27FC236}">
                <a16:creationId xmlns:a16="http://schemas.microsoft.com/office/drawing/2014/main" id="{4545A754-57CC-012B-3DB7-FF623CD68F16}"/>
              </a:ext>
            </a:extLst>
          </p:cNvPr>
          <p:cNvSpPr/>
          <p:nvPr/>
        </p:nvSpPr>
        <p:spPr>
          <a:xfrm>
            <a:off x="2420532" y="2192796"/>
            <a:ext cx="1065126" cy="501402"/>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dirty="0">
                <a:ln>
                  <a:noFill/>
                </a:ln>
                <a:solidFill>
                  <a:prstClr val="white"/>
                </a:solidFill>
                <a:effectLst/>
                <a:uLnTx/>
                <a:uFillTx/>
                <a:latin typeface="Arial" panose="020B0604020202020204"/>
                <a:ea typeface="Meiryo UI" panose="020B0604030504040204" pitchFamily="50" charset="-128"/>
                <a:cs typeface="+mn-cs"/>
              </a:rPr>
              <a:t>Order to Cash</a:t>
            </a:r>
            <a:endParaRPr kumimoji="0" lang="en-NL" altLang="ja-JP" sz="800" b="1" i="0" u="none" strike="noStrike" kern="0" cap="none" spc="0" normalizeH="0" baseline="0" noProof="0" dirty="0">
              <a:ln>
                <a:noFill/>
              </a:ln>
              <a:solidFill>
                <a:prstClr val="white"/>
              </a:solidFill>
              <a:effectLst/>
              <a:uLnTx/>
              <a:uFillTx/>
              <a:latin typeface="Arial" panose="020B0604020202020204"/>
              <a:ea typeface="Meiryo UI" panose="020B0604030504040204" pitchFamily="50" charset="-128"/>
              <a:cs typeface="+mn-cs"/>
            </a:endParaRPr>
          </a:p>
        </p:txBody>
      </p:sp>
      <p:sp>
        <p:nvSpPr>
          <p:cNvPr id="26" name="矢印: 山形 7">
            <a:extLst>
              <a:ext uri="{FF2B5EF4-FFF2-40B4-BE49-F238E27FC236}">
                <a16:creationId xmlns:a16="http://schemas.microsoft.com/office/drawing/2014/main" id="{438EB276-A312-9E14-6681-8C6A880E306B}"/>
              </a:ext>
            </a:extLst>
          </p:cNvPr>
          <p:cNvSpPr/>
          <p:nvPr/>
        </p:nvSpPr>
        <p:spPr>
          <a:xfrm>
            <a:off x="3440361" y="2200268"/>
            <a:ext cx="1115811" cy="493930"/>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Procure to Pay</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27" name="矢印: 山形 8">
            <a:extLst>
              <a:ext uri="{FF2B5EF4-FFF2-40B4-BE49-F238E27FC236}">
                <a16:creationId xmlns:a16="http://schemas.microsoft.com/office/drawing/2014/main" id="{6E971CB1-C9B7-2341-411B-CC5F115A1603}"/>
              </a:ext>
            </a:extLst>
          </p:cNvPr>
          <p:cNvSpPr/>
          <p:nvPr/>
        </p:nvSpPr>
        <p:spPr>
          <a:xfrm>
            <a:off x="4519553" y="2200268"/>
            <a:ext cx="1099665" cy="493930"/>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Demand to Supply</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29" name="矢印: 山形 9">
            <a:extLst>
              <a:ext uri="{FF2B5EF4-FFF2-40B4-BE49-F238E27FC236}">
                <a16:creationId xmlns:a16="http://schemas.microsoft.com/office/drawing/2014/main" id="{22B224C2-88A2-CCA1-062D-D00497AF2B43}"/>
              </a:ext>
            </a:extLst>
          </p:cNvPr>
          <p:cNvSpPr/>
          <p:nvPr/>
        </p:nvSpPr>
        <p:spPr>
          <a:xfrm>
            <a:off x="6716529" y="2195707"/>
            <a:ext cx="1107892" cy="509691"/>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Finance to Manage</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31" name="矢印: 山形 9">
            <a:extLst>
              <a:ext uri="{FF2B5EF4-FFF2-40B4-BE49-F238E27FC236}">
                <a16:creationId xmlns:a16="http://schemas.microsoft.com/office/drawing/2014/main" id="{B000F991-A7A5-2119-FB1C-E6E3B9641417}"/>
              </a:ext>
            </a:extLst>
          </p:cNvPr>
          <p:cNvSpPr/>
          <p:nvPr/>
        </p:nvSpPr>
        <p:spPr>
          <a:xfrm>
            <a:off x="5652499" y="2200268"/>
            <a:ext cx="1073016" cy="492431"/>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Plan to Move</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35" name="矢印: 山形 6">
            <a:extLst>
              <a:ext uri="{FF2B5EF4-FFF2-40B4-BE49-F238E27FC236}">
                <a16:creationId xmlns:a16="http://schemas.microsoft.com/office/drawing/2014/main" id="{86C5230B-63E5-9C81-7B28-E5BCB074F0E7}"/>
              </a:ext>
            </a:extLst>
          </p:cNvPr>
          <p:cNvSpPr/>
          <p:nvPr/>
        </p:nvSpPr>
        <p:spPr>
          <a:xfrm>
            <a:off x="1365475" y="2187744"/>
            <a:ext cx="1065126" cy="493979"/>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Prospect to Order</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36" name="矢印: 山形 6">
            <a:extLst>
              <a:ext uri="{FF2B5EF4-FFF2-40B4-BE49-F238E27FC236}">
                <a16:creationId xmlns:a16="http://schemas.microsoft.com/office/drawing/2014/main" id="{3B65DEC5-93D6-CAF8-0B72-C70A2A255927}"/>
              </a:ext>
            </a:extLst>
          </p:cNvPr>
          <p:cNvSpPr/>
          <p:nvPr/>
        </p:nvSpPr>
        <p:spPr>
          <a:xfrm>
            <a:off x="263359" y="2179297"/>
            <a:ext cx="1107891" cy="506816"/>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Design to Product Introduction</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37" name="正方形/長方形 49">
            <a:extLst>
              <a:ext uri="{FF2B5EF4-FFF2-40B4-BE49-F238E27FC236}">
                <a16:creationId xmlns:a16="http://schemas.microsoft.com/office/drawing/2014/main" id="{6BA91B68-15B8-8059-0C8F-35E62401BAE9}"/>
              </a:ext>
            </a:extLst>
          </p:cNvPr>
          <p:cNvSpPr/>
          <p:nvPr/>
        </p:nvSpPr>
        <p:spPr>
          <a:xfrm>
            <a:off x="271589" y="4205759"/>
            <a:ext cx="1005840" cy="32514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lan New</a:t>
            </a:r>
            <a:r>
              <a:rPr kumimoji="0" lang="ja-JP" altLang="en-US"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 </a:t>
            </a: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ducts</a:t>
            </a:r>
          </a:p>
        </p:txBody>
      </p:sp>
      <p:sp>
        <p:nvSpPr>
          <p:cNvPr id="38" name="正方形/長方形 50">
            <a:extLst>
              <a:ext uri="{FF2B5EF4-FFF2-40B4-BE49-F238E27FC236}">
                <a16:creationId xmlns:a16="http://schemas.microsoft.com/office/drawing/2014/main" id="{C6544B88-EABF-B5F7-968A-651758181461}"/>
              </a:ext>
            </a:extLst>
          </p:cNvPr>
          <p:cNvSpPr/>
          <p:nvPr/>
        </p:nvSpPr>
        <p:spPr>
          <a:xfrm>
            <a:off x="271589" y="3821711"/>
            <a:ext cx="1005840" cy="33605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Manage Contacts /Retain Customers</a:t>
            </a:r>
          </a:p>
        </p:txBody>
      </p:sp>
      <p:sp>
        <p:nvSpPr>
          <p:cNvPr id="39" name="正方形/長方形 51">
            <a:extLst>
              <a:ext uri="{FF2B5EF4-FFF2-40B4-BE49-F238E27FC236}">
                <a16:creationId xmlns:a16="http://schemas.microsoft.com/office/drawing/2014/main" id="{4DE6A987-76E5-9227-5C92-0D5A114C93B6}"/>
              </a:ext>
            </a:extLst>
          </p:cNvPr>
          <p:cNvSpPr/>
          <p:nvPr/>
        </p:nvSpPr>
        <p:spPr>
          <a:xfrm>
            <a:off x="271589" y="3466560"/>
            <a:ext cx="1005840" cy="30715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Manage Campaigns</a:t>
            </a:r>
          </a:p>
        </p:txBody>
      </p:sp>
      <p:sp>
        <p:nvSpPr>
          <p:cNvPr id="40" name="正方形/長方形 52">
            <a:extLst>
              <a:ext uri="{FF2B5EF4-FFF2-40B4-BE49-F238E27FC236}">
                <a16:creationId xmlns:a16="http://schemas.microsoft.com/office/drawing/2014/main" id="{0AA15724-2AF0-2823-E487-8A5CDA580EEE}"/>
              </a:ext>
            </a:extLst>
          </p:cNvPr>
          <p:cNvSpPr/>
          <p:nvPr/>
        </p:nvSpPr>
        <p:spPr>
          <a:xfrm>
            <a:off x="271589" y="3097688"/>
            <a:ext cx="1005840" cy="3208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Identify &amp; Develop Market</a:t>
            </a:r>
          </a:p>
        </p:txBody>
      </p:sp>
      <p:sp>
        <p:nvSpPr>
          <p:cNvPr id="41" name="正方形/長方形 53">
            <a:extLst>
              <a:ext uri="{FF2B5EF4-FFF2-40B4-BE49-F238E27FC236}">
                <a16:creationId xmlns:a16="http://schemas.microsoft.com/office/drawing/2014/main" id="{2A38BC2E-1A6B-9BDE-9A1A-36EFFD2F2CC5}"/>
              </a:ext>
            </a:extLst>
          </p:cNvPr>
          <p:cNvSpPr/>
          <p:nvPr/>
        </p:nvSpPr>
        <p:spPr>
          <a:xfrm>
            <a:off x="271589" y="5061666"/>
            <a:ext cx="1005840" cy="34201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Test New Product &amp; Processes</a:t>
            </a:r>
          </a:p>
        </p:txBody>
      </p:sp>
      <p:sp>
        <p:nvSpPr>
          <p:cNvPr id="42" name="正方形/長方形 54">
            <a:extLst>
              <a:ext uri="{FF2B5EF4-FFF2-40B4-BE49-F238E27FC236}">
                <a16:creationId xmlns:a16="http://schemas.microsoft.com/office/drawing/2014/main" id="{F20D42C6-A373-6E4D-06B6-E57D57335C4A}"/>
              </a:ext>
            </a:extLst>
          </p:cNvPr>
          <p:cNvSpPr/>
          <p:nvPr/>
        </p:nvSpPr>
        <p:spPr>
          <a:xfrm>
            <a:off x="271589" y="4578894"/>
            <a:ext cx="1005840" cy="4430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Develop New Product &amp; Process Design</a:t>
            </a:r>
          </a:p>
        </p:txBody>
      </p:sp>
      <p:sp>
        <p:nvSpPr>
          <p:cNvPr id="43" name="正方形/長方形 55">
            <a:extLst>
              <a:ext uri="{FF2B5EF4-FFF2-40B4-BE49-F238E27FC236}">
                <a16:creationId xmlns:a16="http://schemas.microsoft.com/office/drawing/2014/main" id="{42E20872-6F46-4DF0-971B-E7CC7BB50CF6}"/>
              </a:ext>
            </a:extLst>
          </p:cNvPr>
          <p:cNvSpPr/>
          <p:nvPr/>
        </p:nvSpPr>
        <p:spPr>
          <a:xfrm>
            <a:off x="271589" y="5811367"/>
            <a:ext cx="1005840" cy="4673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ost-Launch Enhancement &amp; Support</a:t>
            </a:r>
          </a:p>
        </p:txBody>
      </p:sp>
      <p:sp>
        <p:nvSpPr>
          <p:cNvPr id="44" name="正方形/長方形 56">
            <a:extLst>
              <a:ext uri="{FF2B5EF4-FFF2-40B4-BE49-F238E27FC236}">
                <a16:creationId xmlns:a16="http://schemas.microsoft.com/office/drawing/2014/main" id="{2E176AFF-3BED-BE8A-DE14-4E6240B74171}"/>
              </a:ext>
            </a:extLst>
          </p:cNvPr>
          <p:cNvSpPr/>
          <p:nvPr/>
        </p:nvSpPr>
        <p:spPr>
          <a:xfrm>
            <a:off x="271589" y="5438657"/>
            <a:ext cx="1005840" cy="33773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launch Product</a:t>
            </a:r>
          </a:p>
        </p:txBody>
      </p:sp>
      <p:sp>
        <p:nvSpPr>
          <p:cNvPr id="45" name="正方形/長方形 24">
            <a:extLst>
              <a:ext uri="{FF2B5EF4-FFF2-40B4-BE49-F238E27FC236}">
                <a16:creationId xmlns:a16="http://schemas.microsoft.com/office/drawing/2014/main" id="{D2AC646C-EB00-8907-2D13-D1B6DE12ACDF}"/>
              </a:ext>
            </a:extLst>
          </p:cNvPr>
          <p:cNvSpPr/>
          <p:nvPr/>
        </p:nvSpPr>
        <p:spPr>
          <a:xfrm>
            <a:off x="1332959" y="4589646"/>
            <a:ext cx="1005840" cy="43232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Service and Support Customer</a:t>
            </a:r>
            <a:endParaRPr kumimoji="1" lang="ja-JP" altLang="en-US"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46" name="正方形/長方形 57">
            <a:extLst>
              <a:ext uri="{FF2B5EF4-FFF2-40B4-BE49-F238E27FC236}">
                <a16:creationId xmlns:a16="http://schemas.microsoft.com/office/drawing/2014/main" id="{B65C93B2-E241-DCC9-251D-04E520DEB399}"/>
              </a:ext>
            </a:extLst>
          </p:cNvPr>
          <p:cNvSpPr/>
          <p:nvPr/>
        </p:nvSpPr>
        <p:spPr>
          <a:xfrm>
            <a:off x="1332959" y="4213435"/>
            <a:ext cx="1005840" cy="32967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Manage Customer Relationships</a:t>
            </a:r>
          </a:p>
        </p:txBody>
      </p:sp>
      <p:sp>
        <p:nvSpPr>
          <p:cNvPr id="47" name="正方形/長方形 58">
            <a:extLst>
              <a:ext uri="{FF2B5EF4-FFF2-40B4-BE49-F238E27FC236}">
                <a16:creationId xmlns:a16="http://schemas.microsoft.com/office/drawing/2014/main" id="{03D9985F-AF64-FC28-28D2-F076C2517F80}"/>
              </a:ext>
            </a:extLst>
          </p:cNvPr>
          <p:cNvSpPr/>
          <p:nvPr/>
        </p:nvSpPr>
        <p:spPr>
          <a:xfrm>
            <a:off x="1332959" y="3834089"/>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Negotiate and Accept Order</a:t>
            </a:r>
          </a:p>
        </p:txBody>
      </p:sp>
      <p:sp>
        <p:nvSpPr>
          <p:cNvPr id="48" name="正方形/長方形 59">
            <a:extLst>
              <a:ext uri="{FF2B5EF4-FFF2-40B4-BE49-F238E27FC236}">
                <a16:creationId xmlns:a16="http://schemas.microsoft.com/office/drawing/2014/main" id="{5F5E6EA5-D66A-1585-93D6-D4AA957E79B6}"/>
              </a:ext>
            </a:extLst>
          </p:cNvPr>
          <p:cNvSpPr/>
          <p:nvPr/>
        </p:nvSpPr>
        <p:spPr>
          <a:xfrm>
            <a:off x="1332959" y="3461565"/>
            <a:ext cx="1005840" cy="32599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Generate Leads</a:t>
            </a:r>
          </a:p>
        </p:txBody>
      </p:sp>
      <p:sp>
        <p:nvSpPr>
          <p:cNvPr id="49" name="正方形/長方形 60">
            <a:extLst>
              <a:ext uri="{FF2B5EF4-FFF2-40B4-BE49-F238E27FC236}">
                <a16:creationId xmlns:a16="http://schemas.microsoft.com/office/drawing/2014/main" id="{0B630CE6-BE64-C939-8BC8-C17F5A4C29A6}"/>
              </a:ext>
            </a:extLst>
          </p:cNvPr>
          <p:cNvSpPr/>
          <p:nvPr/>
        </p:nvSpPr>
        <p:spPr>
          <a:xfrm>
            <a:off x="1332959" y="3096658"/>
            <a:ext cx="1005840" cy="31837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Forecast Sales</a:t>
            </a:r>
          </a:p>
        </p:txBody>
      </p:sp>
      <p:sp>
        <p:nvSpPr>
          <p:cNvPr id="50" name="正方形/長方形 61">
            <a:extLst>
              <a:ext uri="{FF2B5EF4-FFF2-40B4-BE49-F238E27FC236}">
                <a16:creationId xmlns:a16="http://schemas.microsoft.com/office/drawing/2014/main" id="{3B637105-C94A-A93E-6302-B489834A3DFE}"/>
              </a:ext>
            </a:extLst>
          </p:cNvPr>
          <p:cNvSpPr/>
          <p:nvPr/>
        </p:nvSpPr>
        <p:spPr>
          <a:xfrm>
            <a:off x="2393037" y="4573194"/>
            <a:ext cx="1005840" cy="448776"/>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Manage Accounts Receivable</a:t>
            </a:r>
          </a:p>
        </p:txBody>
      </p:sp>
      <p:sp>
        <p:nvSpPr>
          <p:cNvPr id="51" name="正方形/長方形 62">
            <a:extLst>
              <a:ext uri="{FF2B5EF4-FFF2-40B4-BE49-F238E27FC236}">
                <a16:creationId xmlns:a16="http://schemas.microsoft.com/office/drawing/2014/main" id="{0C454360-4FF9-B004-C7BD-4A909B9D0277}"/>
              </a:ext>
            </a:extLst>
          </p:cNvPr>
          <p:cNvSpPr/>
          <p:nvPr/>
        </p:nvSpPr>
        <p:spPr>
          <a:xfrm>
            <a:off x="2393037" y="4189722"/>
            <a:ext cx="1005840" cy="343742"/>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Invoice Customer</a:t>
            </a:r>
          </a:p>
        </p:txBody>
      </p:sp>
      <p:sp>
        <p:nvSpPr>
          <p:cNvPr id="52" name="正方形/長方形 63">
            <a:extLst>
              <a:ext uri="{FF2B5EF4-FFF2-40B4-BE49-F238E27FC236}">
                <a16:creationId xmlns:a16="http://schemas.microsoft.com/office/drawing/2014/main" id="{61A92FC9-45ED-8660-E49F-411B23D76536}"/>
              </a:ext>
            </a:extLst>
          </p:cNvPr>
          <p:cNvSpPr/>
          <p:nvPr/>
        </p:nvSpPr>
        <p:spPr>
          <a:xfrm>
            <a:off x="2393037" y="3828410"/>
            <a:ext cx="1005840" cy="321580"/>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Distribute Goo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Service Execution</a:t>
            </a:r>
          </a:p>
        </p:txBody>
      </p:sp>
      <p:sp>
        <p:nvSpPr>
          <p:cNvPr id="53" name="正方形/長方形 64">
            <a:extLst>
              <a:ext uri="{FF2B5EF4-FFF2-40B4-BE49-F238E27FC236}">
                <a16:creationId xmlns:a16="http://schemas.microsoft.com/office/drawing/2014/main" id="{A0A3498B-7032-9CEF-C2E9-1ED0D30733CE}"/>
              </a:ext>
            </a:extLst>
          </p:cNvPr>
          <p:cNvSpPr/>
          <p:nvPr/>
        </p:nvSpPr>
        <p:spPr>
          <a:xfrm>
            <a:off x="2393037" y="3455866"/>
            <a:ext cx="1005840" cy="33281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cess Or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cess Service</a:t>
            </a:r>
          </a:p>
        </p:txBody>
      </p:sp>
      <p:sp>
        <p:nvSpPr>
          <p:cNvPr id="54" name="正方形/長方形 65">
            <a:extLst>
              <a:ext uri="{FF2B5EF4-FFF2-40B4-BE49-F238E27FC236}">
                <a16:creationId xmlns:a16="http://schemas.microsoft.com/office/drawing/2014/main" id="{CFCB20A9-CDEF-4CA4-1C4B-78D2641A4A6B}"/>
              </a:ext>
            </a:extLst>
          </p:cNvPr>
          <p:cNvSpPr/>
          <p:nvPr/>
        </p:nvSpPr>
        <p:spPr>
          <a:xfrm>
            <a:off x="2393037" y="3089856"/>
            <a:ext cx="1005840" cy="326278"/>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Receive Or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Receive Request</a:t>
            </a:r>
          </a:p>
        </p:txBody>
      </p:sp>
      <p:sp>
        <p:nvSpPr>
          <p:cNvPr id="55" name="正方形/長方形 66">
            <a:extLst>
              <a:ext uri="{FF2B5EF4-FFF2-40B4-BE49-F238E27FC236}">
                <a16:creationId xmlns:a16="http://schemas.microsoft.com/office/drawing/2014/main" id="{B7A5A690-B394-218C-D6D9-0A844FB165D5}"/>
              </a:ext>
            </a:extLst>
          </p:cNvPr>
          <p:cNvSpPr/>
          <p:nvPr/>
        </p:nvSpPr>
        <p:spPr>
          <a:xfrm>
            <a:off x="3453115" y="4573194"/>
            <a:ext cx="1005840" cy="448776"/>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Manage Accounts Payable</a:t>
            </a:r>
          </a:p>
        </p:txBody>
      </p:sp>
      <p:sp>
        <p:nvSpPr>
          <p:cNvPr id="56" name="正方形/長方形 67">
            <a:extLst>
              <a:ext uri="{FF2B5EF4-FFF2-40B4-BE49-F238E27FC236}">
                <a16:creationId xmlns:a16="http://schemas.microsoft.com/office/drawing/2014/main" id="{E1DF4988-52C2-E967-540D-3D6117C8D5DA}"/>
              </a:ext>
            </a:extLst>
          </p:cNvPr>
          <p:cNvSpPr/>
          <p:nvPr/>
        </p:nvSpPr>
        <p:spPr>
          <a:xfrm>
            <a:off x="3453115" y="4189720"/>
            <a:ext cx="1005840" cy="343742"/>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Receive &amp; Manage Materials</a:t>
            </a:r>
          </a:p>
        </p:txBody>
      </p:sp>
      <p:sp>
        <p:nvSpPr>
          <p:cNvPr id="57" name="正方形/長方形 68">
            <a:extLst>
              <a:ext uri="{FF2B5EF4-FFF2-40B4-BE49-F238E27FC236}">
                <a16:creationId xmlns:a16="http://schemas.microsoft.com/office/drawing/2014/main" id="{DA5A9242-F292-8CE3-E1EE-28CF7D6849F5}"/>
              </a:ext>
            </a:extLst>
          </p:cNvPr>
          <p:cNvSpPr/>
          <p:nvPr/>
        </p:nvSpPr>
        <p:spPr>
          <a:xfrm>
            <a:off x="3453115" y="3828408"/>
            <a:ext cx="1005840" cy="321580"/>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Order Materials</a:t>
            </a:r>
          </a:p>
        </p:txBody>
      </p:sp>
      <p:sp>
        <p:nvSpPr>
          <p:cNvPr id="58" name="正方形/長方形 69">
            <a:extLst>
              <a:ext uri="{FF2B5EF4-FFF2-40B4-BE49-F238E27FC236}">
                <a16:creationId xmlns:a16="http://schemas.microsoft.com/office/drawing/2014/main" id="{63867B53-827C-7FC3-8AEB-D722EB2049AC}"/>
              </a:ext>
            </a:extLst>
          </p:cNvPr>
          <p:cNvSpPr/>
          <p:nvPr/>
        </p:nvSpPr>
        <p:spPr>
          <a:xfrm>
            <a:off x="3453115" y="3455864"/>
            <a:ext cx="1005840" cy="33281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Locate Source / Create Contracts</a:t>
            </a:r>
          </a:p>
        </p:txBody>
      </p:sp>
      <p:sp>
        <p:nvSpPr>
          <p:cNvPr id="59" name="正方形/長方形 70">
            <a:extLst>
              <a:ext uri="{FF2B5EF4-FFF2-40B4-BE49-F238E27FC236}">
                <a16:creationId xmlns:a16="http://schemas.microsoft.com/office/drawing/2014/main" id="{24AE1449-B72B-BEA5-A56A-C95C887B353F}"/>
              </a:ext>
            </a:extLst>
          </p:cNvPr>
          <p:cNvSpPr/>
          <p:nvPr/>
        </p:nvSpPr>
        <p:spPr>
          <a:xfrm>
            <a:off x="3453115" y="3089854"/>
            <a:ext cx="1005840" cy="326278"/>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eceive Request</a:t>
            </a:r>
          </a:p>
        </p:txBody>
      </p:sp>
      <p:sp>
        <p:nvSpPr>
          <p:cNvPr id="60" name="正方形/長方形 71">
            <a:extLst>
              <a:ext uri="{FF2B5EF4-FFF2-40B4-BE49-F238E27FC236}">
                <a16:creationId xmlns:a16="http://schemas.microsoft.com/office/drawing/2014/main" id="{CCEE8AC1-79CA-E607-B609-7292DAEC53D3}"/>
              </a:ext>
            </a:extLst>
          </p:cNvPr>
          <p:cNvSpPr/>
          <p:nvPr/>
        </p:nvSpPr>
        <p:spPr>
          <a:xfrm>
            <a:off x="4549156" y="4573194"/>
            <a:ext cx="1005840" cy="448776"/>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Manage Inventory &amp; Assets</a:t>
            </a:r>
          </a:p>
        </p:txBody>
      </p:sp>
      <p:sp>
        <p:nvSpPr>
          <p:cNvPr id="61" name="正方形/長方形 72">
            <a:extLst>
              <a:ext uri="{FF2B5EF4-FFF2-40B4-BE49-F238E27FC236}">
                <a16:creationId xmlns:a16="http://schemas.microsoft.com/office/drawing/2014/main" id="{1F47A5EA-B86C-FCD4-C225-4C08DD23B9F5}"/>
              </a:ext>
            </a:extLst>
          </p:cNvPr>
          <p:cNvSpPr/>
          <p:nvPr/>
        </p:nvSpPr>
        <p:spPr>
          <a:xfrm>
            <a:off x="4549155" y="4189720"/>
            <a:ext cx="1005840" cy="343742"/>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Produce Quality Product</a:t>
            </a:r>
          </a:p>
        </p:txBody>
      </p:sp>
      <p:sp>
        <p:nvSpPr>
          <p:cNvPr id="62" name="正方形/長方形 73">
            <a:extLst>
              <a:ext uri="{FF2B5EF4-FFF2-40B4-BE49-F238E27FC236}">
                <a16:creationId xmlns:a16="http://schemas.microsoft.com/office/drawing/2014/main" id="{30F580A4-5402-CC81-FCAF-D203717D5A1B}"/>
              </a:ext>
            </a:extLst>
          </p:cNvPr>
          <p:cNvSpPr/>
          <p:nvPr/>
        </p:nvSpPr>
        <p:spPr>
          <a:xfrm>
            <a:off x="4549155" y="3828408"/>
            <a:ext cx="1005840" cy="321580"/>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lan / Schedule Production</a:t>
            </a:r>
          </a:p>
        </p:txBody>
      </p:sp>
      <p:sp>
        <p:nvSpPr>
          <p:cNvPr id="63" name="正方形/長方形 74">
            <a:extLst>
              <a:ext uri="{FF2B5EF4-FFF2-40B4-BE49-F238E27FC236}">
                <a16:creationId xmlns:a16="http://schemas.microsoft.com/office/drawing/2014/main" id="{1D566D6E-AFAC-CECA-D792-5AE63AE2F303}"/>
              </a:ext>
            </a:extLst>
          </p:cNvPr>
          <p:cNvSpPr/>
          <p:nvPr/>
        </p:nvSpPr>
        <p:spPr>
          <a:xfrm>
            <a:off x="4549155" y="3455864"/>
            <a:ext cx="1005840" cy="33281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Request / Reserve Resources</a:t>
            </a:r>
          </a:p>
        </p:txBody>
      </p:sp>
      <p:sp>
        <p:nvSpPr>
          <p:cNvPr id="256" name="正方形/長方形 75">
            <a:extLst>
              <a:ext uri="{FF2B5EF4-FFF2-40B4-BE49-F238E27FC236}">
                <a16:creationId xmlns:a16="http://schemas.microsoft.com/office/drawing/2014/main" id="{27D6CE17-F9D8-A4E5-246F-9E4B1FE6A816}"/>
              </a:ext>
            </a:extLst>
          </p:cNvPr>
          <p:cNvSpPr/>
          <p:nvPr/>
        </p:nvSpPr>
        <p:spPr>
          <a:xfrm>
            <a:off x="4549155" y="3089854"/>
            <a:ext cx="1005840" cy="326278"/>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Forecast Demand / Supply</a:t>
            </a:r>
          </a:p>
        </p:txBody>
      </p:sp>
      <p:sp>
        <p:nvSpPr>
          <p:cNvPr id="262" name="正方形/長方形 76">
            <a:extLst>
              <a:ext uri="{FF2B5EF4-FFF2-40B4-BE49-F238E27FC236}">
                <a16:creationId xmlns:a16="http://schemas.microsoft.com/office/drawing/2014/main" id="{FEC965AA-238E-B5BD-C30A-BCA53D25D4CA}"/>
              </a:ext>
            </a:extLst>
          </p:cNvPr>
          <p:cNvSpPr/>
          <p:nvPr/>
        </p:nvSpPr>
        <p:spPr>
          <a:xfrm>
            <a:off x="5645196" y="4573194"/>
            <a:ext cx="1005840" cy="4487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Source &amp; Procure &amp; compliance</a:t>
            </a:r>
          </a:p>
        </p:txBody>
      </p:sp>
      <p:sp>
        <p:nvSpPr>
          <p:cNvPr id="267" name="正方形/長方形 77">
            <a:extLst>
              <a:ext uri="{FF2B5EF4-FFF2-40B4-BE49-F238E27FC236}">
                <a16:creationId xmlns:a16="http://schemas.microsoft.com/office/drawing/2014/main" id="{FA86A6A9-6095-F0D4-6502-FC29196CE542}"/>
              </a:ext>
            </a:extLst>
          </p:cNvPr>
          <p:cNvSpPr/>
          <p:nvPr/>
        </p:nvSpPr>
        <p:spPr>
          <a:xfrm>
            <a:off x="5645196" y="4193212"/>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Calculate Charges &amp; Settle</a:t>
            </a:r>
          </a:p>
        </p:txBody>
      </p:sp>
      <p:sp>
        <p:nvSpPr>
          <p:cNvPr id="277" name="正方形/長方形 78">
            <a:extLst>
              <a:ext uri="{FF2B5EF4-FFF2-40B4-BE49-F238E27FC236}">
                <a16:creationId xmlns:a16="http://schemas.microsoft.com/office/drawing/2014/main" id="{F1187ABF-3AF4-19E7-A0B0-084C342D11EF}"/>
              </a:ext>
            </a:extLst>
          </p:cNvPr>
          <p:cNvSpPr/>
          <p:nvPr/>
        </p:nvSpPr>
        <p:spPr>
          <a:xfrm>
            <a:off x="5645196" y="3835393"/>
            <a:ext cx="1005840" cy="32158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Execute &amp; Monitor Freight</a:t>
            </a:r>
          </a:p>
        </p:txBody>
      </p:sp>
      <p:sp>
        <p:nvSpPr>
          <p:cNvPr id="278" name="正方形/長方形 79">
            <a:extLst>
              <a:ext uri="{FF2B5EF4-FFF2-40B4-BE49-F238E27FC236}">
                <a16:creationId xmlns:a16="http://schemas.microsoft.com/office/drawing/2014/main" id="{00B7C1E6-7EB9-AFB4-662C-E36C7F699C23}"/>
              </a:ext>
            </a:extLst>
          </p:cNvPr>
          <p:cNvSpPr/>
          <p:nvPr/>
        </p:nvSpPr>
        <p:spPr>
          <a:xfrm>
            <a:off x="5645196" y="3466342"/>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lan &amp; Tender Freight</a:t>
            </a:r>
          </a:p>
        </p:txBody>
      </p:sp>
      <p:sp>
        <p:nvSpPr>
          <p:cNvPr id="64" name="正方形/長方形 80">
            <a:extLst>
              <a:ext uri="{FF2B5EF4-FFF2-40B4-BE49-F238E27FC236}">
                <a16:creationId xmlns:a16="http://schemas.microsoft.com/office/drawing/2014/main" id="{8FB3C819-6EF8-1895-98E9-0379BE277988}"/>
              </a:ext>
            </a:extLst>
          </p:cNvPr>
          <p:cNvSpPr/>
          <p:nvPr/>
        </p:nvSpPr>
        <p:spPr>
          <a:xfrm>
            <a:off x="5645196" y="3086361"/>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Manage Orders</a:t>
            </a:r>
          </a:p>
        </p:txBody>
      </p:sp>
      <p:sp>
        <p:nvSpPr>
          <p:cNvPr id="65" name="正方形/長方形 81">
            <a:extLst>
              <a:ext uri="{FF2B5EF4-FFF2-40B4-BE49-F238E27FC236}">
                <a16:creationId xmlns:a16="http://schemas.microsoft.com/office/drawing/2014/main" id="{727E4D81-3B91-B024-C6E5-1851CEC895A2}"/>
              </a:ext>
            </a:extLst>
          </p:cNvPr>
          <p:cNvSpPr/>
          <p:nvPr/>
        </p:nvSpPr>
        <p:spPr>
          <a:xfrm>
            <a:off x="6711678" y="4573194"/>
            <a:ext cx="1005840" cy="448776"/>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Support Decisions &amp; Compliance</a:t>
            </a:r>
          </a:p>
        </p:txBody>
      </p:sp>
      <p:sp>
        <p:nvSpPr>
          <p:cNvPr id="66" name="正方形/長方形 82">
            <a:extLst>
              <a:ext uri="{FF2B5EF4-FFF2-40B4-BE49-F238E27FC236}">
                <a16:creationId xmlns:a16="http://schemas.microsoft.com/office/drawing/2014/main" id="{43EA64D4-EDE9-2679-1BC9-38CF2A54F7A3}"/>
              </a:ext>
            </a:extLst>
          </p:cNvPr>
          <p:cNvSpPr/>
          <p:nvPr/>
        </p:nvSpPr>
        <p:spPr>
          <a:xfrm>
            <a:off x="6711678" y="4193214"/>
            <a:ext cx="1005840" cy="34374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eport Results</a:t>
            </a:r>
          </a:p>
        </p:txBody>
      </p:sp>
      <p:sp>
        <p:nvSpPr>
          <p:cNvPr id="67" name="正方形/長方形 83">
            <a:extLst>
              <a:ext uri="{FF2B5EF4-FFF2-40B4-BE49-F238E27FC236}">
                <a16:creationId xmlns:a16="http://schemas.microsoft.com/office/drawing/2014/main" id="{3794434B-9CB4-7C3E-10E7-EB002C7CF5C6}"/>
              </a:ext>
            </a:extLst>
          </p:cNvPr>
          <p:cNvSpPr/>
          <p:nvPr/>
        </p:nvSpPr>
        <p:spPr>
          <a:xfrm>
            <a:off x="6711678" y="3835395"/>
            <a:ext cx="1005840" cy="321580"/>
          </a:xfrm>
          <a:prstGeom prst="rect">
            <a:avLst/>
          </a:prstGeom>
          <a:solidFill>
            <a:schemeClr val="accent6">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Close / Consolidate</a:t>
            </a:r>
          </a:p>
        </p:txBody>
      </p:sp>
      <p:sp>
        <p:nvSpPr>
          <p:cNvPr id="68" name="正方形/長方形 84">
            <a:extLst>
              <a:ext uri="{FF2B5EF4-FFF2-40B4-BE49-F238E27FC236}">
                <a16:creationId xmlns:a16="http://schemas.microsoft.com/office/drawing/2014/main" id="{D5FB93D8-FF2F-5A10-15F5-3AC3D8DF93E0}"/>
              </a:ext>
            </a:extLst>
          </p:cNvPr>
          <p:cNvSpPr/>
          <p:nvPr/>
        </p:nvSpPr>
        <p:spPr>
          <a:xfrm>
            <a:off x="6711678" y="3466344"/>
            <a:ext cx="1005840" cy="33281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l Record / Settle Transactions</a:t>
            </a:r>
          </a:p>
        </p:txBody>
      </p:sp>
      <p:sp>
        <p:nvSpPr>
          <p:cNvPr id="69" name="正方形/長方形 85">
            <a:extLst>
              <a:ext uri="{FF2B5EF4-FFF2-40B4-BE49-F238E27FC236}">
                <a16:creationId xmlns:a16="http://schemas.microsoft.com/office/drawing/2014/main" id="{10D504D1-816C-3BD3-66A3-7B359DDE28B5}"/>
              </a:ext>
            </a:extLst>
          </p:cNvPr>
          <p:cNvSpPr/>
          <p:nvPr/>
        </p:nvSpPr>
        <p:spPr>
          <a:xfrm>
            <a:off x="6711678" y="3086363"/>
            <a:ext cx="1005840" cy="343742"/>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Define Financial Structure &amp; Plans</a:t>
            </a:r>
          </a:p>
        </p:txBody>
      </p:sp>
      <p:sp>
        <p:nvSpPr>
          <p:cNvPr id="70" name="矢印: 山形 9">
            <a:extLst>
              <a:ext uri="{FF2B5EF4-FFF2-40B4-BE49-F238E27FC236}">
                <a16:creationId xmlns:a16="http://schemas.microsoft.com/office/drawing/2014/main" id="{6286B9C9-1A39-A7CF-BC64-4DADBC25BB23}"/>
              </a:ext>
            </a:extLst>
          </p:cNvPr>
          <p:cNvSpPr/>
          <p:nvPr/>
        </p:nvSpPr>
        <p:spPr>
          <a:xfrm>
            <a:off x="7796029" y="2183007"/>
            <a:ext cx="1042389" cy="522391"/>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Invest to Divest</a:t>
            </a:r>
            <a:endParaRPr kumimoji="1" lang="ja-JP" altLang="en-US" sz="800" b="1"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71" name="正方形/長方形 87">
            <a:extLst>
              <a:ext uri="{FF2B5EF4-FFF2-40B4-BE49-F238E27FC236}">
                <a16:creationId xmlns:a16="http://schemas.microsoft.com/office/drawing/2014/main" id="{85B5B9E8-0405-AEEA-0977-510759A8A1A0}"/>
              </a:ext>
            </a:extLst>
          </p:cNvPr>
          <p:cNvSpPr/>
          <p:nvPr/>
        </p:nvSpPr>
        <p:spPr>
          <a:xfrm>
            <a:off x="7767983" y="4573194"/>
            <a:ext cx="1005840" cy="4487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ject / Program Close</a:t>
            </a:r>
          </a:p>
        </p:txBody>
      </p:sp>
      <p:sp>
        <p:nvSpPr>
          <p:cNvPr id="72" name="正方形/長方形 88">
            <a:extLst>
              <a:ext uri="{FF2B5EF4-FFF2-40B4-BE49-F238E27FC236}">
                <a16:creationId xmlns:a16="http://schemas.microsoft.com/office/drawing/2014/main" id="{D8CE79FF-F722-F09E-BC60-8B6381FD28DD}"/>
              </a:ext>
            </a:extLst>
          </p:cNvPr>
          <p:cNvSpPr/>
          <p:nvPr/>
        </p:nvSpPr>
        <p:spPr>
          <a:xfrm>
            <a:off x="7767983" y="4193214"/>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eriod / Year End Close</a:t>
            </a:r>
          </a:p>
        </p:txBody>
      </p:sp>
      <p:sp>
        <p:nvSpPr>
          <p:cNvPr id="73" name="正方形/長方形 89">
            <a:extLst>
              <a:ext uri="{FF2B5EF4-FFF2-40B4-BE49-F238E27FC236}">
                <a16:creationId xmlns:a16="http://schemas.microsoft.com/office/drawing/2014/main" id="{93235C6D-6D45-9F09-1633-8F5BEEDE8E40}"/>
              </a:ext>
            </a:extLst>
          </p:cNvPr>
          <p:cNvSpPr/>
          <p:nvPr/>
        </p:nvSpPr>
        <p:spPr>
          <a:xfrm>
            <a:off x="7767983" y="3835395"/>
            <a:ext cx="1005840" cy="32158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Manage Projects / Internal Orders</a:t>
            </a:r>
          </a:p>
        </p:txBody>
      </p:sp>
      <p:sp>
        <p:nvSpPr>
          <p:cNvPr id="74" name="正方形/長方形 90">
            <a:extLst>
              <a:ext uri="{FF2B5EF4-FFF2-40B4-BE49-F238E27FC236}">
                <a16:creationId xmlns:a16="http://schemas.microsoft.com/office/drawing/2014/main" id="{5F5EE105-499C-4B65-6F3D-6D06BEF78176}"/>
              </a:ext>
            </a:extLst>
          </p:cNvPr>
          <p:cNvSpPr/>
          <p:nvPr/>
        </p:nvSpPr>
        <p:spPr>
          <a:xfrm>
            <a:off x="7767983" y="3466344"/>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Invest</a:t>
            </a:r>
          </a:p>
        </p:txBody>
      </p:sp>
      <p:sp>
        <p:nvSpPr>
          <p:cNvPr id="75" name="正方形/長方形 91">
            <a:extLst>
              <a:ext uri="{FF2B5EF4-FFF2-40B4-BE49-F238E27FC236}">
                <a16:creationId xmlns:a16="http://schemas.microsoft.com/office/drawing/2014/main" id="{81FF0D1E-8590-1730-AF9D-299893A76C5B}"/>
              </a:ext>
            </a:extLst>
          </p:cNvPr>
          <p:cNvSpPr/>
          <p:nvPr/>
        </p:nvSpPr>
        <p:spPr>
          <a:xfrm>
            <a:off x="7767530" y="3086363"/>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equest Resources</a:t>
            </a:r>
          </a:p>
        </p:txBody>
      </p:sp>
      <p:sp>
        <p:nvSpPr>
          <p:cNvPr id="76" name="矢印: 山形 9">
            <a:extLst>
              <a:ext uri="{FF2B5EF4-FFF2-40B4-BE49-F238E27FC236}">
                <a16:creationId xmlns:a16="http://schemas.microsoft.com/office/drawing/2014/main" id="{07A995D2-09FE-6B3C-BBE4-EA4846755E80}"/>
              </a:ext>
            </a:extLst>
          </p:cNvPr>
          <p:cNvSpPr/>
          <p:nvPr/>
        </p:nvSpPr>
        <p:spPr>
          <a:xfrm>
            <a:off x="8812029" y="2183007"/>
            <a:ext cx="1107892" cy="522391"/>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Recruit to Retire</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77" name="正方形/長方形 93">
            <a:extLst>
              <a:ext uri="{FF2B5EF4-FFF2-40B4-BE49-F238E27FC236}">
                <a16:creationId xmlns:a16="http://schemas.microsoft.com/office/drawing/2014/main" id="{67538B15-1F6D-DF0E-6B7A-CBEEF0628F27}"/>
              </a:ext>
            </a:extLst>
          </p:cNvPr>
          <p:cNvSpPr/>
          <p:nvPr/>
        </p:nvSpPr>
        <p:spPr>
          <a:xfrm>
            <a:off x="8824288" y="4573194"/>
            <a:ext cx="1005840" cy="4487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Travel Management</a:t>
            </a:r>
          </a:p>
        </p:txBody>
      </p:sp>
      <p:sp>
        <p:nvSpPr>
          <p:cNvPr id="78" name="正方形/長方形 94">
            <a:extLst>
              <a:ext uri="{FF2B5EF4-FFF2-40B4-BE49-F238E27FC236}">
                <a16:creationId xmlns:a16="http://schemas.microsoft.com/office/drawing/2014/main" id="{D83CD817-BC31-2E83-5CA3-77C1AD27A790}"/>
              </a:ext>
            </a:extLst>
          </p:cNvPr>
          <p:cNvSpPr/>
          <p:nvPr/>
        </p:nvSpPr>
        <p:spPr>
          <a:xfrm>
            <a:off x="8824288" y="4195666"/>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ositive Time Management</a:t>
            </a:r>
          </a:p>
        </p:txBody>
      </p:sp>
      <p:sp>
        <p:nvSpPr>
          <p:cNvPr id="79" name="正方形/長方形 95">
            <a:extLst>
              <a:ext uri="{FF2B5EF4-FFF2-40B4-BE49-F238E27FC236}">
                <a16:creationId xmlns:a16="http://schemas.microsoft.com/office/drawing/2014/main" id="{02306B89-F25B-6E4C-0793-38401EB32F88}"/>
              </a:ext>
            </a:extLst>
          </p:cNvPr>
          <p:cNvSpPr/>
          <p:nvPr/>
        </p:nvSpPr>
        <p:spPr>
          <a:xfrm>
            <a:off x="8824288" y="3840301"/>
            <a:ext cx="1005840" cy="32158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Negative Time Management</a:t>
            </a:r>
          </a:p>
        </p:txBody>
      </p:sp>
      <p:sp>
        <p:nvSpPr>
          <p:cNvPr id="80" name="正方形/長方形 96">
            <a:extLst>
              <a:ext uri="{FF2B5EF4-FFF2-40B4-BE49-F238E27FC236}">
                <a16:creationId xmlns:a16="http://schemas.microsoft.com/office/drawing/2014/main" id="{B57AB8CC-FCFA-4863-A931-75D77C08DA6C}"/>
              </a:ext>
            </a:extLst>
          </p:cNvPr>
          <p:cNvSpPr/>
          <p:nvPr/>
        </p:nvSpPr>
        <p:spPr>
          <a:xfrm>
            <a:off x="8824288" y="3473704"/>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ersonnel Administration</a:t>
            </a:r>
          </a:p>
        </p:txBody>
      </p:sp>
      <p:sp>
        <p:nvSpPr>
          <p:cNvPr id="81" name="正方形/長方形 97">
            <a:extLst>
              <a:ext uri="{FF2B5EF4-FFF2-40B4-BE49-F238E27FC236}">
                <a16:creationId xmlns:a16="http://schemas.microsoft.com/office/drawing/2014/main" id="{0443AB63-B9C0-1F7B-7FC8-E5EACAC30CCC}"/>
              </a:ext>
            </a:extLst>
          </p:cNvPr>
          <p:cNvSpPr/>
          <p:nvPr/>
        </p:nvSpPr>
        <p:spPr>
          <a:xfrm>
            <a:off x="8823382" y="3096177"/>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Organizational Management</a:t>
            </a:r>
          </a:p>
        </p:txBody>
      </p:sp>
      <p:sp>
        <p:nvSpPr>
          <p:cNvPr id="82" name="矢印: 山形 9">
            <a:extLst>
              <a:ext uri="{FF2B5EF4-FFF2-40B4-BE49-F238E27FC236}">
                <a16:creationId xmlns:a16="http://schemas.microsoft.com/office/drawing/2014/main" id="{770F0CD2-3E3D-8791-79E8-58873FD5C34B}"/>
              </a:ext>
            </a:extLst>
          </p:cNvPr>
          <p:cNvSpPr/>
          <p:nvPr/>
        </p:nvSpPr>
        <p:spPr>
          <a:xfrm>
            <a:off x="9866129" y="2183007"/>
            <a:ext cx="1107892" cy="522391"/>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QC/QA</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83" name="正方形/長方形 99">
            <a:extLst>
              <a:ext uri="{FF2B5EF4-FFF2-40B4-BE49-F238E27FC236}">
                <a16:creationId xmlns:a16="http://schemas.microsoft.com/office/drawing/2014/main" id="{06596A37-DA44-E2DD-E916-AC9521F355B3}"/>
              </a:ext>
            </a:extLst>
          </p:cNvPr>
          <p:cNvSpPr/>
          <p:nvPr/>
        </p:nvSpPr>
        <p:spPr>
          <a:xfrm>
            <a:off x="9880593" y="4573194"/>
            <a:ext cx="1005840" cy="4487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Support Decisions &amp; Compliance</a:t>
            </a:r>
          </a:p>
        </p:txBody>
      </p:sp>
      <p:sp>
        <p:nvSpPr>
          <p:cNvPr id="84" name="正方形/長方形 100">
            <a:extLst>
              <a:ext uri="{FF2B5EF4-FFF2-40B4-BE49-F238E27FC236}">
                <a16:creationId xmlns:a16="http://schemas.microsoft.com/office/drawing/2014/main" id="{C22CC5BE-F6F0-66E9-5F06-368ACEB452B8}"/>
              </a:ext>
            </a:extLst>
          </p:cNvPr>
          <p:cNvSpPr/>
          <p:nvPr/>
        </p:nvSpPr>
        <p:spPr>
          <a:xfrm>
            <a:off x="9880593" y="4194649"/>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eport Results</a:t>
            </a:r>
          </a:p>
        </p:txBody>
      </p:sp>
      <p:sp>
        <p:nvSpPr>
          <p:cNvPr id="110" name="正方形/長方形 101">
            <a:extLst>
              <a:ext uri="{FF2B5EF4-FFF2-40B4-BE49-F238E27FC236}">
                <a16:creationId xmlns:a16="http://schemas.microsoft.com/office/drawing/2014/main" id="{B213E92A-3554-9B5B-0C45-C65E87B3D6FE}"/>
              </a:ext>
            </a:extLst>
          </p:cNvPr>
          <p:cNvSpPr/>
          <p:nvPr/>
        </p:nvSpPr>
        <p:spPr>
          <a:xfrm>
            <a:off x="9880593" y="3828221"/>
            <a:ext cx="1005840" cy="32158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Close / Consolidate</a:t>
            </a:r>
          </a:p>
        </p:txBody>
      </p:sp>
      <p:sp>
        <p:nvSpPr>
          <p:cNvPr id="111" name="正方形/長方形 102">
            <a:extLst>
              <a:ext uri="{FF2B5EF4-FFF2-40B4-BE49-F238E27FC236}">
                <a16:creationId xmlns:a16="http://schemas.microsoft.com/office/drawing/2014/main" id="{9D6B1E09-43DB-092E-3CFC-E08686FCD4E8}"/>
              </a:ext>
            </a:extLst>
          </p:cNvPr>
          <p:cNvSpPr/>
          <p:nvPr/>
        </p:nvSpPr>
        <p:spPr>
          <a:xfrm>
            <a:off x="9880593" y="3465655"/>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l Record / Settle Transactions</a:t>
            </a:r>
          </a:p>
        </p:txBody>
      </p:sp>
      <p:sp>
        <p:nvSpPr>
          <p:cNvPr id="112" name="正方形/長方形 103">
            <a:extLst>
              <a:ext uri="{FF2B5EF4-FFF2-40B4-BE49-F238E27FC236}">
                <a16:creationId xmlns:a16="http://schemas.microsoft.com/office/drawing/2014/main" id="{E289F07F-A9DA-E765-A9AB-117560B1E25D}"/>
              </a:ext>
            </a:extLst>
          </p:cNvPr>
          <p:cNvSpPr/>
          <p:nvPr/>
        </p:nvSpPr>
        <p:spPr>
          <a:xfrm>
            <a:off x="9879234" y="3087611"/>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Define Financial Structure &amp; Plans</a:t>
            </a:r>
          </a:p>
        </p:txBody>
      </p:sp>
      <p:sp>
        <p:nvSpPr>
          <p:cNvPr id="114" name="矢印: 山形 9">
            <a:extLst>
              <a:ext uri="{FF2B5EF4-FFF2-40B4-BE49-F238E27FC236}">
                <a16:creationId xmlns:a16="http://schemas.microsoft.com/office/drawing/2014/main" id="{9DA5B060-E974-421A-77E0-70C2D3E5D642}"/>
              </a:ext>
            </a:extLst>
          </p:cNvPr>
          <p:cNvSpPr/>
          <p:nvPr/>
        </p:nvSpPr>
        <p:spPr>
          <a:xfrm>
            <a:off x="10907529" y="2195707"/>
            <a:ext cx="1136468" cy="522391"/>
          </a:xfrm>
          <a:prstGeom prst="chevron">
            <a:avLst>
              <a:gd name="adj" fmla="val 23786"/>
            </a:avLst>
          </a:prstGeom>
          <a:solidFill>
            <a:schemeClr val="bg1">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rPr>
              <a:t>Stewardship</a:t>
            </a:r>
            <a:endParaRPr kumimoji="0" lang="en-NL" altLang="ja-JP" sz="800" b="1" i="0" u="none" strike="noStrike" kern="0" cap="none" spc="0" normalizeH="0" baseline="0" noProof="0">
              <a:ln>
                <a:noFill/>
              </a:ln>
              <a:solidFill>
                <a:prstClr val="white"/>
              </a:solidFill>
              <a:effectLst/>
              <a:uLnTx/>
              <a:uFillTx/>
              <a:latin typeface="Arial" panose="020B0604020202020204"/>
              <a:ea typeface="Meiryo UI" panose="020B0604030504040204" pitchFamily="50" charset="-128"/>
              <a:cs typeface="+mn-cs"/>
            </a:endParaRPr>
          </a:p>
        </p:txBody>
      </p:sp>
      <p:sp>
        <p:nvSpPr>
          <p:cNvPr id="116" name="正方形/長方形 105">
            <a:extLst>
              <a:ext uri="{FF2B5EF4-FFF2-40B4-BE49-F238E27FC236}">
                <a16:creationId xmlns:a16="http://schemas.microsoft.com/office/drawing/2014/main" id="{3F4F0E0D-9028-4ACE-E2B7-07D9B6559F50}"/>
              </a:ext>
            </a:extLst>
          </p:cNvPr>
          <p:cNvSpPr/>
          <p:nvPr/>
        </p:nvSpPr>
        <p:spPr>
          <a:xfrm>
            <a:off x="10936899" y="4573194"/>
            <a:ext cx="1005840" cy="4487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duct Use &amp; End of Product Life</a:t>
            </a:r>
          </a:p>
        </p:txBody>
      </p:sp>
      <p:sp>
        <p:nvSpPr>
          <p:cNvPr id="117" name="正方形/長方形 106">
            <a:extLst>
              <a:ext uri="{FF2B5EF4-FFF2-40B4-BE49-F238E27FC236}">
                <a16:creationId xmlns:a16="http://schemas.microsoft.com/office/drawing/2014/main" id="{FCB3DC5E-FBD1-C60C-C598-7B0CEF4EAE09}"/>
              </a:ext>
            </a:extLst>
          </p:cNvPr>
          <p:cNvSpPr/>
          <p:nvPr/>
        </p:nvSpPr>
        <p:spPr>
          <a:xfrm>
            <a:off x="10936899" y="4195666"/>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Logistics &amp; Distribution</a:t>
            </a:r>
          </a:p>
        </p:txBody>
      </p:sp>
      <p:sp>
        <p:nvSpPr>
          <p:cNvPr id="118" name="正方形/長方形 107">
            <a:extLst>
              <a:ext uri="{FF2B5EF4-FFF2-40B4-BE49-F238E27FC236}">
                <a16:creationId xmlns:a16="http://schemas.microsoft.com/office/drawing/2014/main" id="{F88D8E26-5355-9A32-0925-6C9F1E690B9C}"/>
              </a:ext>
            </a:extLst>
          </p:cNvPr>
          <p:cNvSpPr/>
          <p:nvPr/>
        </p:nvSpPr>
        <p:spPr>
          <a:xfrm>
            <a:off x="10936899" y="3840301"/>
            <a:ext cx="1005840" cy="32158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duction &amp; Operation</a:t>
            </a:r>
          </a:p>
        </p:txBody>
      </p:sp>
      <p:sp>
        <p:nvSpPr>
          <p:cNvPr id="120" name="正方形/長方形 108">
            <a:extLst>
              <a:ext uri="{FF2B5EF4-FFF2-40B4-BE49-F238E27FC236}">
                <a16:creationId xmlns:a16="http://schemas.microsoft.com/office/drawing/2014/main" id="{856646D3-F04C-42C7-742C-DA151A4D6F8B}"/>
              </a:ext>
            </a:extLst>
          </p:cNvPr>
          <p:cNvSpPr/>
          <p:nvPr/>
        </p:nvSpPr>
        <p:spPr>
          <a:xfrm>
            <a:off x="10936899" y="3473704"/>
            <a:ext cx="1005840" cy="332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duct Development</a:t>
            </a:r>
          </a:p>
        </p:txBody>
      </p:sp>
      <p:sp>
        <p:nvSpPr>
          <p:cNvPr id="124" name="正方形/長方形 109">
            <a:extLst>
              <a:ext uri="{FF2B5EF4-FFF2-40B4-BE49-F238E27FC236}">
                <a16:creationId xmlns:a16="http://schemas.microsoft.com/office/drawing/2014/main" id="{712BC555-05C8-701D-4D82-C0A10C288DC2}"/>
              </a:ext>
            </a:extLst>
          </p:cNvPr>
          <p:cNvSpPr/>
          <p:nvPr/>
        </p:nvSpPr>
        <p:spPr>
          <a:xfrm>
            <a:off x="10936899" y="3096177"/>
            <a:ext cx="1005840" cy="34374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7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aw Materials</a:t>
            </a:r>
          </a:p>
        </p:txBody>
      </p:sp>
      <p:sp>
        <p:nvSpPr>
          <p:cNvPr id="125" name="テキスト ボックス 111">
            <a:extLst>
              <a:ext uri="{FF2B5EF4-FFF2-40B4-BE49-F238E27FC236}">
                <a16:creationId xmlns:a16="http://schemas.microsoft.com/office/drawing/2014/main" id="{0BEDCC6A-4B7C-A051-8BC8-F629C7825EC2}"/>
              </a:ext>
            </a:extLst>
          </p:cNvPr>
          <p:cNvSpPr txBox="1"/>
          <p:nvPr/>
        </p:nvSpPr>
        <p:spPr>
          <a:xfrm>
            <a:off x="76200" y="2285157"/>
            <a:ext cx="699979" cy="317798"/>
          </a:xfrm>
          <a:prstGeom prst="rect">
            <a:avLst/>
          </a:prstGeom>
          <a:noFill/>
        </p:spPr>
        <p:txBody>
          <a:bodyPr wrap="squar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rPr>
              <a:t>LV1</a:t>
            </a:r>
            <a:endParaRPr kumimoji="1" lang="ja-JP" altLang="en-US" sz="11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endParaRPr>
          </a:p>
        </p:txBody>
      </p:sp>
      <p:cxnSp>
        <p:nvCxnSpPr>
          <p:cNvPr id="126" name="直線矢印コネクタ 117">
            <a:extLst>
              <a:ext uri="{FF2B5EF4-FFF2-40B4-BE49-F238E27FC236}">
                <a16:creationId xmlns:a16="http://schemas.microsoft.com/office/drawing/2014/main" id="{B848ED15-AB1D-2D9F-65E0-1C8A860275E1}"/>
              </a:ext>
            </a:extLst>
          </p:cNvPr>
          <p:cNvCxnSpPr>
            <a:cxnSpLocks/>
          </p:cNvCxnSpPr>
          <p:nvPr/>
        </p:nvCxnSpPr>
        <p:spPr>
          <a:xfrm>
            <a:off x="263359" y="2032000"/>
            <a:ext cx="10483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18">
            <a:extLst>
              <a:ext uri="{FF2B5EF4-FFF2-40B4-BE49-F238E27FC236}">
                <a16:creationId xmlns:a16="http://schemas.microsoft.com/office/drawing/2014/main" id="{45701ACA-D90A-250F-884E-6F7195C56FFF}"/>
              </a:ext>
            </a:extLst>
          </p:cNvPr>
          <p:cNvCxnSpPr>
            <a:cxnSpLocks/>
          </p:cNvCxnSpPr>
          <p:nvPr/>
        </p:nvCxnSpPr>
        <p:spPr>
          <a:xfrm>
            <a:off x="1380959" y="2032000"/>
            <a:ext cx="211964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8" name="直線矢印コネクタ 120">
            <a:extLst>
              <a:ext uri="{FF2B5EF4-FFF2-40B4-BE49-F238E27FC236}">
                <a16:creationId xmlns:a16="http://schemas.microsoft.com/office/drawing/2014/main" id="{A7E9FD46-206C-A303-8568-76674980F5BC}"/>
              </a:ext>
            </a:extLst>
          </p:cNvPr>
          <p:cNvCxnSpPr>
            <a:cxnSpLocks/>
          </p:cNvCxnSpPr>
          <p:nvPr/>
        </p:nvCxnSpPr>
        <p:spPr>
          <a:xfrm>
            <a:off x="3514559" y="2032000"/>
            <a:ext cx="10483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9" name="直線矢印コネクタ 121">
            <a:extLst>
              <a:ext uri="{FF2B5EF4-FFF2-40B4-BE49-F238E27FC236}">
                <a16:creationId xmlns:a16="http://schemas.microsoft.com/office/drawing/2014/main" id="{01A4D440-EA3F-8C9F-B754-4F265F580DFD}"/>
              </a:ext>
            </a:extLst>
          </p:cNvPr>
          <p:cNvCxnSpPr>
            <a:cxnSpLocks/>
          </p:cNvCxnSpPr>
          <p:nvPr/>
        </p:nvCxnSpPr>
        <p:spPr>
          <a:xfrm>
            <a:off x="4619459" y="2032000"/>
            <a:ext cx="211964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0" name="直線矢印コネクタ 122">
            <a:extLst>
              <a:ext uri="{FF2B5EF4-FFF2-40B4-BE49-F238E27FC236}">
                <a16:creationId xmlns:a16="http://schemas.microsoft.com/office/drawing/2014/main" id="{2F10E6D3-7F65-44DC-440B-1F394AF3AA4F}"/>
              </a:ext>
            </a:extLst>
          </p:cNvPr>
          <p:cNvCxnSpPr>
            <a:cxnSpLocks/>
          </p:cNvCxnSpPr>
          <p:nvPr/>
        </p:nvCxnSpPr>
        <p:spPr>
          <a:xfrm flipH="1">
            <a:off x="6858000" y="2032000"/>
            <a:ext cx="181275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1" name="直線矢印コネクタ 128">
            <a:extLst>
              <a:ext uri="{FF2B5EF4-FFF2-40B4-BE49-F238E27FC236}">
                <a16:creationId xmlns:a16="http://schemas.microsoft.com/office/drawing/2014/main" id="{41798463-F353-A7B9-5F9E-D4A9E0EB2C20}"/>
              </a:ext>
            </a:extLst>
          </p:cNvPr>
          <p:cNvCxnSpPr>
            <a:cxnSpLocks/>
          </p:cNvCxnSpPr>
          <p:nvPr/>
        </p:nvCxnSpPr>
        <p:spPr>
          <a:xfrm flipH="1">
            <a:off x="9880600" y="2032000"/>
            <a:ext cx="181275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2" name="直線矢印コネクタ 129">
            <a:extLst>
              <a:ext uri="{FF2B5EF4-FFF2-40B4-BE49-F238E27FC236}">
                <a16:creationId xmlns:a16="http://schemas.microsoft.com/office/drawing/2014/main" id="{8947F964-F441-97FE-77DB-A359E2537222}"/>
              </a:ext>
            </a:extLst>
          </p:cNvPr>
          <p:cNvCxnSpPr>
            <a:cxnSpLocks/>
          </p:cNvCxnSpPr>
          <p:nvPr/>
        </p:nvCxnSpPr>
        <p:spPr>
          <a:xfrm>
            <a:off x="8746959" y="2032000"/>
            <a:ext cx="10483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93" name="テキスト ボックス 132">
            <a:extLst>
              <a:ext uri="{FF2B5EF4-FFF2-40B4-BE49-F238E27FC236}">
                <a16:creationId xmlns:a16="http://schemas.microsoft.com/office/drawing/2014/main" id="{D517A611-FA6B-F12C-F0B9-06432B21889D}"/>
              </a:ext>
            </a:extLst>
          </p:cNvPr>
          <p:cNvSpPr txBox="1"/>
          <p:nvPr/>
        </p:nvSpPr>
        <p:spPr>
          <a:xfrm>
            <a:off x="586173" y="1638330"/>
            <a:ext cx="906187" cy="3936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R &amp; D</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4" name="テキスト ボックス 133">
            <a:extLst>
              <a:ext uri="{FF2B5EF4-FFF2-40B4-BE49-F238E27FC236}">
                <a16:creationId xmlns:a16="http://schemas.microsoft.com/office/drawing/2014/main" id="{BE302482-4568-848A-F2C9-ADE79087324B}"/>
              </a:ext>
            </a:extLst>
          </p:cNvPr>
          <p:cNvSpPr txBox="1"/>
          <p:nvPr/>
        </p:nvSpPr>
        <p:spPr>
          <a:xfrm>
            <a:off x="1449773" y="1638330"/>
            <a:ext cx="1945894" cy="393670"/>
          </a:xfrm>
          <a:prstGeom prst="rect">
            <a:avLst/>
          </a:prstGeom>
          <a:noFill/>
        </p:spPr>
        <p:txBody>
          <a:bodyPr wrap="squar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Commercial</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5" name="テキスト ボックス 134">
            <a:extLst>
              <a:ext uri="{FF2B5EF4-FFF2-40B4-BE49-F238E27FC236}">
                <a16:creationId xmlns:a16="http://schemas.microsoft.com/office/drawing/2014/main" id="{146C05ED-ABD9-F1DC-A83A-E88BCC6CC92B}"/>
              </a:ext>
            </a:extLst>
          </p:cNvPr>
          <p:cNvSpPr txBox="1"/>
          <p:nvPr/>
        </p:nvSpPr>
        <p:spPr>
          <a:xfrm>
            <a:off x="4777173" y="1638330"/>
            <a:ext cx="1945894" cy="393670"/>
          </a:xfrm>
          <a:prstGeom prst="rect">
            <a:avLst/>
          </a:prstGeom>
          <a:noFill/>
        </p:spPr>
        <p:txBody>
          <a:bodyPr wrap="squar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Operation</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6" name="テキスト ボックス 135">
            <a:extLst>
              <a:ext uri="{FF2B5EF4-FFF2-40B4-BE49-F238E27FC236}">
                <a16:creationId xmlns:a16="http://schemas.microsoft.com/office/drawing/2014/main" id="{1D48997E-E2C1-C2F2-A2EB-C14FEF1FD62A}"/>
              </a:ext>
            </a:extLst>
          </p:cNvPr>
          <p:cNvSpPr txBox="1"/>
          <p:nvPr/>
        </p:nvSpPr>
        <p:spPr>
          <a:xfrm>
            <a:off x="3532383" y="1638330"/>
            <a:ext cx="1300078" cy="3936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Procurement</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7" name="テキスト ボックス 136">
            <a:extLst>
              <a:ext uri="{FF2B5EF4-FFF2-40B4-BE49-F238E27FC236}">
                <a16:creationId xmlns:a16="http://schemas.microsoft.com/office/drawing/2014/main" id="{C9F93830-7247-0C68-DFEE-A84A842439DD}"/>
              </a:ext>
            </a:extLst>
          </p:cNvPr>
          <p:cNvSpPr txBox="1"/>
          <p:nvPr/>
        </p:nvSpPr>
        <p:spPr>
          <a:xfrm>
            <a:off x="6898073" y="1638330"/>
            <a:ext cx="1945894" cy="393670"/>
          </a:xfrm>
          <a:prstGeom prst="rect">
            <a:avLst/>
          </a:prstGeom>
          <a:noFill/>
        </p:spPr>
        <p:txBody>
          <a:bodyPr wrap="squar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Finance</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8" name="テキスト ボックス 137">
            <a:extLst>
              <a:ext uri="{FF2B5EF4-FFF2-40B4-BE49-F238E27FC236}">
                <a16:creationId xmlns:a16="http://schemas.microsoft.com/office/drawing/2014/main" id="{D269F30E-ADFE-E847-45D1-DE1F7D01C375}"/>
              </a:ext>
            </a:extLst>
          </p:cNvPr>
          <p:cNvSpPr txBox="1"/>
          <p:nvPr/>
        </p:nvSpPr>
        <p:spPr>
          <a:xfrm>
            <a:off x="9933373" y="1638330"/>
            <a:ext cx="1945894" cy="393670"/>
          </a:xfrm>
          <a:prstGeom prst="rect">
            <a:avLst/>
          </a:prstGeom>
          <a:noFill/>
        </p:spPr>
        <p:txBody>
          <a:bodyPr wrap="square" lIns="0" tIns="72000" rIns="23400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Support Process</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299" name="テキスト ボックス 138">
            <a:extLst>
              <a:ext uri="{FF2B5EF4-FFF2-40B4-BE49-F238E27FC236}">
                <a16:creationId xmlns:a16="http://schemas.microsoft.com/office/drawing/2014/main" id="{9BB6EF92-7BD2-CF38-9AD7-7B70900F1A3D}"/>
              </a:ext>
            </a:extLst>
          </p:cNvPr>
          <p:cNvSpPr txBox="1"/>
          <p:nvPr/>
        </p:nvSpPr>
        <p:spPr>
          <a:xfrm>
            <a:off x="9204881" y="1638330"/>
            <a:ext cx="650319" cy="3936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rPr>
              <a:t>HR</a:t>
            </a:r>
            <a:endParaRPr kumimoji="1" lang="ja-JP" altLang="en-US" sz="1100" b="0" i="0" u="none" strike="noStrike" kern="1200" cap="none" spc="0" normalizeH="0" baseline="0" noProof="0" err="1">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300" name="正方形/長方形 5">
            <a:extLst>
              <a:ext uri="{FF2B5EF4-FFF2-40B4-BE49-F238E27FC236}">
                <a16:creationId xmlns:a16="http://schemas.microsoft.com/office/drawing/2014/main" id="{DF07524F-EEBA-C981-79D0-84574D0E5E0B}"/>
              </a:ext>
            </a:extLst>
          </p:cNvPr>
          <p:cNvSpPr/>
          <p:nvPr/>
        </p:nvSpPr>
        <p:spPr>
          <a:xfrm>
            <a:off x="1332313"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Capture New Business</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1" name="正方形/長方形 113">
            <a:extLst>
              <a:ext uri="{FF2B5EF4-FFF2-40B4-BE49-F238E27FC236}">
                <a16:creationId xmlns:a16="http://schemas.microsoft.com/office/drawing/2014/main" id="{DEB89CBD-B196-77EC-90CA-B42C8C5A1737}"/>
              </a:ext>
            </a:extLst>
          </p:cNvPr>
          <p:cNvSpPr/>
          <p:nvPr/>
        </p:nvSpPr>
        <p:spPr>
          <a:xfrm>
            <a:off x="3453761" y="2723446"/>
            <a:ext cx="320040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Supply Chain Management</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2" name="正方形/長方形 114">
            <a:extLst>
              <a:ext uri="{FF2B5EF4-FFF2-40B4-BE49-F238E27FC236}">
                <a16:creationId xmlns:a16="http://schemas.microsoft.com/office/drawing/2014/main" id="{11ABC7E2-FFB0-B406-D9A2-87AF1AECEA6B}"/>
              </a:ext>
            </a:extLst>
          </p:cNvPr>
          <p:cNvSpPr/>
          <p:nvPr/>
        </p:nvSpPr>
        <p:spPr>
          <a:xfrm>
            <a:off x="6711678" y="2723446"/>
            <a:ext cx="2048889"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Finance &amp; Accounting</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3" name="正方形/長方形 115">
            <a:extLst>
              <a:ext uri="{FF2B5EF4-FFF2-40B4-BE49-F238E27FC236}">
                <a16:creationId xmlns:a16="http://schemas.microsoft.com/office/drawing/2014/main" id="{3BC6B9D4-34D5-215A-73D3-527FB62F359B}"/>
              </a:ext>
            </a:extLst>
          </p:cNvPr>
          <p:cNvSpPr/>
          <p:nvPr/>
        </p:nvSpPr>
        <p:spPr>
          <a:xfrm>
            <a:off x="271589"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Develop New Product</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4" name="正方形/長方形 116">
            <a:extLst>
              <a:ext uri="{FF2B5EF4-FFF2-40B4-BE49-F238E27FC236}">
                <a16:creationId xmlns:a16="http://schemas.microsoft.com/office/drawing/2014/main" id="{460D50BB-AA39-F9AE-3075-36CB8CAF651D}"/>
              </a:ext>
            </a:extLst>
          </p:cNvPr>
          <p:cNvSpPr/>
          <p:nvPr/>
        </p:nvSpPr>
        <p:spPr>
          <a:xfrm>
            <a:off x="8815451"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Hum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Resources</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5" name="正方形/長方形 119">
            <a:extLst>
              <a:ext uri="{FF2B5EF4-FFF2-40B4-BE49-F238E27FC236}">
                <a16:creationId xmlns:a16="http://schemas.microsoft.com/office/drawing/2014/main" id="{723C5103-415F-AFE2-8474-C45E809CD7E0}"/>
              </a:ext>
            </a:extLst>
          </p:cNvPr>
          <p:cNvSpPr/>
          <p:nvPr/>
        </p:nvSpPr>
        <p:spPr>
          <a:xfrm>
            <a:off x="9876175"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Management</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6" name="正方形/長方形 123">
            <a:extLst>
              <a:ext uri="{FF2B5EF4-FFF2-40B4-BE49-F238E27FC236}">
                <a16:creationId xmlns:a16="http://schemas.microsoft.com/office/drawing/2014/main" id="{43154C1B-D8E5-4DD5-FF76-0513E913B430}"/>
              </a:ext>
            </a:extLst>
          </p:cNvPr>
          <p:cNvSpPr/>
          <p:nvPr/>
        </p:nvSpPr>
        <p:spPr>
          <a:xfrm>
            <a:off x="10936899"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EHS</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7" name="正方形/長方形 124">
            <a:extLst>
              <a:ext uri="{FF2B5EF4-FFF2-40B4-BE49-F238E27FC236}">
                <a16:creationId xmlns:a16="http://schemas.microsoft.com/office/drawing/2014/main" id="{A1993749-B21F-5CD7-245D-1F21F70B3AA9}"/>
              </a:ext>
            </a:extLst>
          </p:cNvPr>
          <p:cNvSpPr/>
          <p:nvPr/>
        </p:nvSpPr>
        <p:spPr>
          <a:xfrm>
            <a:off x="2393037" y="2723446"/>
            <a:ext cx="1005840" cy="338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rPr>
              <a:t>Sales</a:t>
            </a:r>
            <a:endParaRPr kumimoji="1" lang="ja-JP" altLang="en-US" sz="1000" b="0" i="0" u="none" strike="noStrike" kern="1200" cap="none" spc="0" normalizeH="0" baseline="0" noProof="0">
              <a:ln>
                <a:noFill/>
              </a:ln>
              <a:solidFill>
                <a:prstClr val="white"/>
              </a:solidFill>
              <a:effectLst/>
              <a:uLnTx/>
              <a:uFillTx/>
              <a:latin typeface="Arial" panose="020B0604020202020204"/>
              <a:ea typeface="ＭＳ Ｐゴシック" panose="020B0600070205080204" pitchFamily="50" charset="-128"/>
              <a:cs typeface="+mn-cs"/>
            </a:endParaRPr>
          </a:p>
        </p:txBody>
      </p:sp>
      <p:sp>
        <p:nvSpPr>
          <p:cNvPr id="308" name="Rectangle 188">
            <a:extLst>
              <a:ext uri="{FF2B5EF4-FFF2-40B4-BE49-F238E27FC236}">
                <a16:creationId xmlns:a16="http://schemas.microsoft.com/office/drawing/2014/main" id="{A5475E96-76B6-CC07-A14F-217A73B29BB2}"/>
              </a:ext>
            </a:extLst>
          </p:cNvPr>
          <p:cNvSpPr/>
          <p:nvPr/>
        </p:nvSpPr>
        <p:spPr>
          <a:xfrm>
            <a:off x="2385064" y="5179768"/>
            <a:ext cx="3216898" cy="239419"/>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err="1">
                <a:ln>
                  <a:noFill/>
                </a:ln>
                <a:solidFill>
                  <a:prstClr val="black"/>
                </a:solidFill>
                <a:effectLst/>
                <a:uLnTx/>
                <a:uFillTx/>
                <a:latin typeface="Arial" panose="020B0604020202020204"/>
                <a:ea typeface="游ゴシック Medium"/>
                <a:cs typeface="+mn-cs"/>
              </a:rPr>
              <a:t>Mone</a:t>
            </a:r>
            <a:r>
              <a:rPr kumimoji="0" lang="en-US" sz="700" b="1" i="0" u="none" strike="noStrike" kern="1200" cap="none" spc="0" normalizeH="0" baseline="0" noProof="0" dirty="0">
                <a:ln>
                  <a:noFill/>
                </a:ln>
                <a:solidFill>
                  <a:prstClr val="black"/>
                </a:solidFill>
                <a:effectLst/>
                <a:uLnTx/>
                <a:uFillTx/>
                <a:latin typeface="Arial" panose="020B0604020202020204"/>
                <a:ea typeface="游ゴシック Medium"/>
                <a:cs typeface="+mn-cs"/>
              </a:rPr>
              <a:t>-G scope</a:t>
            </a:r>
          </a:p>
        </p:txBody>
      </p:sp>
      <p:sp>
        <p:nvSpPr>
          <p:cNvPr id="309" name="Rectangle 189">
            <a:extLst>
              <a:ext uri="{FF2B5EF4-FFF2-40B4-BE49-F238E27FC236}">
                <a16:creationId xmlns:a16="http://schemas.microsoft.com/office/drawing/2014/main" id="{BAA1FFA0-03B5-B312-01F9-C76DA1E1F533}"/>
              </a:ext>
            </a:extLst>
          </p:cNvPr>
          <p:cNvSpPr/>
          <p:nvPr/>
        </p:nvSpPr>
        <p:spPr>
          <a:xfrm>
            <a:off x="6709596" y="5179768"/>
            <a:ext cx="1007921" cy="239419"/>
          </a:xfrm>
          <a:prstGeom prst="rect">
            <a:avLst/>
          </a:prstGeom>
          <a:solidFill>
            <a:schemeClr val="accent6">
              <a:lumMod val="60000"/>
              <a:lumOff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err="1">
                <a:ln>
                  <a:noFill/>
                </a:ln>
                <a:solidFill>
                  <a:prstClr val="black"/>
                </a:solidFill>
                <a:effectLst/>
                <a:uLnTx/>
                <a:uFillTx/>
                <a:latin typeface="Arial" panose="020B0604020202020204"/>
                <a:ea typeface="游ゴシック Medium"/>
                <a:cs typeface="+mn-cs"/>
              </a:rPr>
              <a:t>Mone</a:t>
            </a:r>
            <a:r>
              <a:rPr kumimoji="0" lang="en-US" sz="700" b="1" i="0" u="none" strike="noStrike" kern="1200" cap="none" spc="0" normalizeH="0" baseline="0" noProof="0" dirty="0">
                <a:ln>
                  <a:noFill/>
                </a:ln>
                <a:solidFill>
                  <a:prstClr val="black"/>
                </a:solidFill>
                <a:effectLst/>
                <a:uLnTx/>
                <a:uFillTx/>
                <a:latin typeface="Arial" panose="020B0604020202020204"/>
                <a:ea typeface="游ゴシック Medium"/>
                <a:cs typeface="+mn-cs"/>
              </a:rPr>
              <a:t>-G scope</a:t>
            </a:r>
          </a:p>
        </p:txBody>
      </p:sp>
      <p:sp>
        <p:nvSpPr>
          <p:cNvPr id="310" name="正方形/長方形 71">
            <a:extLst>
              <a:ext uri="{FF2B5EF4-FFF2-40B4-BE49-F238E27FC236}">
                <a16:creationId xmlns:a16="http://schemas.microsoft.com/office/drawing/2014/main" id="{4347F575-6D65-304F-F03A-690E23C54471}"/>
              </a:ext>
            </a:extLst>
          </p:cNvPr>
          <p:cNvSpPr/>
          <p:nvPr/>
        </p:nvSpPr>
        <p:spPr>
          <a:xfrm>
            <a:off x="10058400" y="6202898"/>
            <a:ext cx="415484" cy="151646"/>
          </a:xfrm>
          <a:prstGeom prst="rect">
            <a:avLst/>
          </a:prstGeom>
          <a:solidFill>
            <a:schemeClr val="accent6">
              <a:lumMod val="60000"/>
              <a:lumOff val="40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7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50" charset="-128"/>
              <a:cs typeface="+mn-cs"/>
            </a:endParaRPr>
          </a:p>
        </p:txBody>
      </p:sp>
      <p:sp>
        <p:nvSpPr>
          <p:cNvPr id="311" name="TextBox 191">
            <a:extLst>
              <a:ext uri="{FF2B5EF4-FFF2-40B4-BE49-F238E27FC236}">
                <a16:creationId xmlns:a16="http://schemas.microsoft.com/office/drawing/2014/main" id="{785DE441-FC44-4181-DB19-F7648B6334CB}"/>
              </a:ext>
            </a:extLst>
          </p:cNvPr>
          <p:cNvSpPr txBox="1"/>
          <p:nvPr/>
        </p:nvSpPr>
        <p:spPr>
          <a:xfrm>
            <a:off x="10520759" y="6158421"/>
            <a:ext cx="914400" cy="343742"/>
          </a:xfrm>
          <a:prstGeom prst="rect">
            <a:avLst/>
          </a:prstGeom>
          <a:noFill/>
        </p:spPr>
        <p:txBody>
          <a:bodyPr wrap="non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panose="020B0604020202020204"/>
                <a:ea typeface="游ゴシック Medium"/>
                <a:cs typeface="+mn-cs"/>
              </a:rPr>
              <a:t>Requires additional SAP modules</a:t>
            </a:r>
          </a:p>
        </p:txBody>
      </p:sp>
    </p:spTree>
    <p:extLst>
      <p:ext uri="{BB962C8B-B14F-4D97-AF65-F5344CB8AC3E}">
        <p14:creationId xmlns:p14="http://schemas.microsoft.com/office/powerpoint/2010/main" val="3517424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99C27-CFDA-2BA1-322B-CB1B65635415}"/>
              </a:ext>
            </a:extLst>
          </p:cNvPr>
          <p:cNvSpPr>
            <a:spLocks noGrp="1"/>
          </p:cNvSpPr>
          <p:nvPr>
            <p:ph type="title"/>
          </p:nvPr>
        </p:nvSpPr>
        <p:spPr>
          <a:xfrm>
            <a:off x="947353" y="104833"/>
            <a:ext cx="8281636" cy="540000"/>
          </a:xfrm>
        </p:spPr>
        <p:txBody>
          <a:bodyPr/>
          <a:lstStyle/>
          <a:p>
            <a:r>
              <a:rPr lang="en-US" altLang="ja-JP" dirty="0"/>
              <a:t>Scope of Mone-G – SAP Modules</a:t>
            </a:r>
            <a:endParaRPr lang="en-US" dirty="0"/>
          </a:p>
        </p:txBody>
      </p:sp>
      <p:sp>
        <p:nvSpPr>
          <p:cNvPr id="6" name="Title 1">
            <a:extLst>
              <a:ext uri="{FF2B5EF4-FFF2-40B4-BE49-F238E27FC236}">
                <a16:creationId xmlns:a16="http://schemas.microsoft.com/office/drawing/2014/main" id="{D3BB7BCA-26C4-A6E9-DC33-D1BE17F11DAE}"/>
              </a:ext>
            </a:extLst>
          </p:cNvPr>
          <p:cNvSpPr txBox="1">
            <a:spLocks/>
          </p:cNvSpPr>
          <p:nvPr/>
        </p:nvSpPr>
        <p:spPr>
          <a:xfrm>
            <a:off x="228988" y="104833"/>
            <a:ext cx="9000000"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endParaRPr lang="en-US" dirty="0"/>
          </a:p>
        </p:txBody>
      </p:sp>
      <p:sp>
        <p:nvSpPr>
          <p:cNvPr id="7" name="矢印: 山形 6">
            <a:extLst>
              <a:ext uri="{FF2B5EF4-FFF2-40B4-BE49-F238E27FC236}">
                <a16:creationId xmlns:a16="http://schemas.microsoft.com/office/drawing/2014/main" id="{4B922497-76BC-2C9D-908C-FF03D9FC3B2E}"/>
              </a:ext>
            </a:extLst>
          </p:cNvPr>
          <p:cNvSpPr/>
          <p:nvPr/>
        </p:nvSpPr>
        <p:spPr>
          <a:xfrm>
            <a:off x="533400" y="906520"/>
            <a:ext cx="2554340" cy="420480"/>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rPr>
              <a:t>Order to Cash</a:t>
            </a:r>
            <a:endParaRPr kumimoji="0" lang="en-NL"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endParaRPr>
          </a:p>
        </p:txBody>
      </p:sp>
      <p:sp>
        <p:nvSpPr>
          <p:cNvPr id="8" name="矢印: 山形 7">
            <a:extLst>
              <a:ext uri="{FF2B5EF4-FFF2-40B4-BE49-F238E27FC236}">
                <a16:creationId xmlns:a16="http://schemas.microsoft.com/office/drawing/2014/main" id="{3B33FB61-9432-55F1-452A-5B1B97F069D5}"/>
              </a:ext>
            </a:extLst>
          </p:cNvPr>
          <p:cNvSpPr/>
          <p:nvPr/>
        </p:nvSpPr>
        <p:spPr>
          <a:xfrm>
            <a:off x="3472004" y="912785"/>
            <a:ext cx="2589146" cy="414213"/>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rPr>
              <a:t>Procure to Pay</a:t>
            </a:r>
            <a:endParaRPr kumimoji="0" lang="en-NL"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endParaRPr>
          </a:p>
        </p:txBody>
      </p:sp>
      <p:sp>
        <p:nvSpPr>
          <p:cNvPr id="9" name="矢印: 山形 8">
            <a:extLst>
              <a:ext uri="{FF2B5EF4-FFF2-40B4-BE49-F238E27FC236}">
                <a16:creationId xmlns:a16="http://schemas.microsoft.com/office/drawing/2014/main" id="{FB7FE14D-2452-74B2-80AD-D13D1695839C}"/>
              </a:ext>
            </a:extLst>
          </p:cNvPr>
          <p:cNvSpPr/>
          <p:nvPr/>
        </p:nvSpPr>
        <p:spPr>
          <a:xfrm>
            <a:off x="6350488" y="912785"/>
            <a:ext cx="2568568" cy="414213"/>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rPr>
              <a:t>Demand to Supply</a:t>
            </a:r>
            <a:endParaRPr kumimoji="0" lang="en-NL"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endParaRPr>
          </a:p>
        </p:txBody>
      </p:sp>
      <p:sp>
        <p:nvSpPr>
          <p:cNvPr id="10" name="矢印: 山形 9">
            <a:extLst>
              <a:ext uri="{FF2B5EF4-FFF2-40B4-BE49-F238E27FC236}">
                <a16:creationId xmlns:a16="http://schemas.microsoft.com/office/drawing/2014/main" id="{756D8436-BD27-09C9-F3D3-4957CAFFECAD}"/>
              </a:ext>
            </a:extLst>
          </p:cNvPr>
          <p:cNvSpPr/>
          <p:nvPr/>
        </p:nvSpPr>
        <p:spPr>
          <a:xfrm>
            <a:off x="9233739" y="914240"/>
            <a:ext cx="2501617" cy="427431"/>
          </a:xfrm>
          <a:prstGeom prst="chevron">
            <a:avLst>
              <a:gd name="adj" fmla="val 23786"/>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rPr>
              <a:t>Finance to Manage</a:t>
            </a:r>
            <a:endParaRPr kumimoji="0" lang="en-NL" altLang="ja-JP" sz="1050" b="1" i="0" u="none" strike="noStrike" kern="0" cap="none" spc="0" normalizeH="0" baseline="0" noProof="0">
              <a:ln>
                <a:noFill/>
              </a:ln>
              <a:solidFill>
                <a:prstClr val="white"/>
              </a:solidFill>
              <a:effectLst/>
              <a:uLnTx/>
              <a:uFillTx/>
              <a:latin typeface="Ubuntu"/>
              <a:ea typeface="Meiryo UI" panose="020B0604030504040204" pitchFamily="50" charset="-128"/>
              <a:cs typeface="+mn-cs"/>
            </a:endParaRPr>
          </a:p>
        </p:txBody>
      </p:sp>
      <p:sp>
        <p:nvSpPr>
          <p:cNvPr id="11" name="正方形/長方形 61">
            <a:extLst>
              <a:ext uri="{FF2B5EF4-FFF2-40B4-BE49-F238E27FC236}">
                <a16:creationId xmlns:a16="http://schemas.microsoft.com/office/drawing/2014/main" id="{2B66DFFA-BD67-7CC2-6AE0-DD900CD95B1E}"/>
              </a:ext>
            </a:extLst>
          </p:cNvPr>
          <p:cNvSpPr/>
          <p:nvPr/>
        </p:nvSpPr>
        <p:spPr>
          <a:xfrm>
            <a:off x="533400" y="4966814"/>
            <a:ext cx="1509688" cy="587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anage Accounts Receivable</a:t>
            </a:r>
          </a:p>
        </p:txBody>
      </p:sp>
      <p:sp>
        <p:nvSpPr>
          <p:cNvPr id="12" name="正方形/長方形 62">
            <a:extLst>
              <a:ext uri="{FF2B5EF4-FFF2-40B4-BE49-F238E27FC236}">
                <a16:creationId xmlns:a16="http://schemas.microsoft.com/office/drawing/2014/main" id="{72AEE1EC-F7E6-2178-83EC-9FAFA6E43708}"/>
              </a:ext>
            </a:extLst>
          </p:cNvPr>
          <p:cNvSpPr/>
          <p:nvPr/>
        </p:nvSpPr>
        <p:spPr>
          <a:xfrm>
            <a:off x="533400" y="4275591"/>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Invoice Customer</a:t>
            </a:r>
          </a:p>
        </p:txBody>
      </p:sp>
      <p:sp>
        <p:nvSpPr>
          <p:cNvPr id="13" name="正方形/長方形 63">
            <a:extLst>
              <a:ext uri="{FF2B5EF4-FFF2-40B4-BE49-F238E27FC236}">
                <a16:creationId xmlns:a16="http://schemas.microsoft.com/office/drawing/2014/main" id="{F4C7B0F2-3D92-CA28-9710-E420C0082029}"/>
              </a:ext>
            </a:extLst>
          </p:cNvPr>
          <p:cNvSpPr/>
          <p:nvPr/>
        </p:nvSpPr>
        <p:spPr>
          <a:xfrm>
            <a:off x="533400" y="3584367"/>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Distribute Goo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ervice Execution</a:t>
            </a:r>
          </a:p>
        </p:txBody>
      </p:sp>
      <p:sp>
        <p:nvSpPr>
          <p:cNvPr id="14" name="正方形/長方形 64">
            <a:extLst>
              <a:ext uri="{FF2B5EF4-FFF2-40B4-BE49-F238E27FC236}">
                <a16:creationId xmlns:a16="http://schemas.microsoft.com/office/drawing/2014/main" id="{44FF92E7-889E-279B-FA77-AA03CA729993}"/>
              </a:ext>
            </a:extLst>
          </p:cNvPr>
          <p:cNvSpPr/>
          <p:nvPr/>
        </p:nvSpPr>
        <p:spPr>
          <a:xfrm>
            <a:off x="533400" y="2893143"/>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rocess Or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rocess Service</a:t>
            </a:r>
          </a:p>
        </p:txBody>
      </p:sp>
      <p:sp>
        <p:nvSpPr>
          <p:cNvPr id="15" name="正方形/長方形 65">
            <a:extLst>
              <a:ext uri="{FF2B5EF4-FFF2-40B4-BE49-F238E27FC236}">
                <a16:creationId xmlns:a16="http://schemas.microsoft.com/office/drawing/2014/main" id="{47CB6A58-AAA6-7C73-6B69-F086C5EEDEDD}"/>
              </a:ext>
            </a:extLst>
          </p:cNvPr>
          <p:cNvSpPr/>
          <p:nvPr/>
        </p:nvSpPr>
        <p:spPr>
          <a:xfrm>
            <a:off x="533400" y="2201919"/>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ceive Or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ceive Request</a:t>
            </a:r>
          </a:p>
        </p:txBody>
      </p:sp>
      <p:sp>
        <p:nvSpPr>
          <p:cNvPr id="16" name="正方形/長方形 66">
            <a:extLst>
              <a:ext uri="{FF2B5EF4-FFF2-40B4-BE49-F238E27FC236}">
                <a16:creationId xmlns:a16="http://schemas.microsoft.com/office/drawing/2014/main" id="{75115BEE-41EE-386A-4982-FB460D863D71}"/>
              </a:ext>
            </a:extLst>
          </p:cNvPr>
          <p:cNvSpPr/>
          <p:nvPr/>
        </p:nvSpPr>
        <p:spPr>
          <a:xfrm>
            <a:off x="3491147" y="4966814"/>
            <a:ext cx="1509688" cy="58790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anage Accounts Payable</a:t>
            </a:r>
          </a:p>
        </p:txBody>
      </p:sp>
      <p:sp>
        <p:nvSpPr>
          <p:cNvPr id="17" name="正方形/長方形 67">
            <a:extLst>
              <a:ext uri="{FF2B5EF4-FFF2-40B4-BE49-F238E27FC236}">
                <a16:creationId xmlns:a16="http://schemas.microsoft.com/office/drawing/2014/main" id="{03A72AAB-D76F-27BD-3957-1003C55AD643}"/>
              </a:ext>
            </a:extLst>
          </p:cNvPr>
          <p:cNvSpPr/>
          <p:nvPr/>
        </p:nvSpPr>
        <p:spPr>
          <a:xfrm>
            <a:off x="3491147" y="4275591"/>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ceive &amp; Manage Materials</a:t>
            </a:r>
          </a:p>
        </p:txBody>
      </p:sp>
      <p:sp>
        <p:nvSpPr>
          <p:cNvPr id="18" name="正方形/長方形 68">
            <a:extLst>
              <a:ext uri="{FF2B5EF4-FFF2-40B4-BE49-F238E27FC236}">
                <a16:creationId xmlns:a16="http://schemas.microsoft.com/office/drawing/2014/main" id="{FD56CA4C-CB25-56AA-99DC-68F7F550BB46}"/>
              </a:ext>
            </a:extLst>
          </p:cNvPr>
          <p:cNvSpPr/>
          <p:nvPr/>
        </p:nvSpPr>
        <p:spPr>
          <a:xfrm>
            <a:off x="3491147" y="3584367"/>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Order Materials</a:t>
            </a:r>
          </a:p>
        </p:txBody>
      </p:sp>
      <p:sp>
        <p:nvSpPr>
          <p:cNvPr id="19" name="正方形/長方形 69">
            <a:extLst>
              <a:ext uri="{FF2B5EF4-FFF2-40B4-BE49-F238E27FC236}">
                <a16:creationId xmlns:a16="http://schemas.microsoft.com/office/drawing/2014/main" id="{943CE17E-D42F-4DA6-47A0-A83DFBA95D14}"/>
              </a:ext>
            </a:extLst>
          </p:cNvPr>
          <p:cNvSpPr/>
          <p:nvPr/>
        </p:nvSpPr>
        <p:spPr>
          <a:xfrm>
            <a:off x="3491147" y="2893143"/>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Locate Source / Create Contracts</a:t>
            </a:r>
          </a:p>
        </p:txBody>
      </p:sp>
      <p:sp>
        <p:nvSpPr>
          <p:cNvPr id="20" name="正方形/長方形 70">
            <a:extLst>
              <a:ext uri="{FF2B5EF4-FFF2-40B4-BE49-F238E27FC236}">
                <a16:creationId xmlns:a16="http://schemas.microsoft.com/office/drawing/2014/main" id="{20C7AB8D-8D9B-4CF9-8681-FBE1C48F54EF}"/>
              </a:ext>
            </a:extLst>
          </p:cNvPr>
          <p:cNvSpPr/>
          <p:nvPr/>
        </p:nvSpPr>
        <p:spPr>
          <a:xfrm>
            <a:off x="3491147" y="2201919"/>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ceive Request</a:t>
            </a:r>
          </a:p>
        </p:txBody>
      </p:sp>
      <p:sp>
        <p:nvSpPr>
          <p:cNvPr id="21" name="正方形/長方形 71">
            <a:extLst>
              <a:ext uri="{FF2B5EF4-FFF2-40B4-BE49-F238E27FC236}">
                <a16:creationId xmlns:a16="http://schemas.microsoft.com/office/drawing/2014/main" id="{14BB635B-4B75-62DC-6FE5-07F148A04C74}"/>
              </a:ext>
            </a:extLst>
          </p:cNvPr>
          <p:cNvSpPr/>
          <p:nvPr/>
        </p:nvSpPr>
        <p:spPr>
          <a:xfrm>
            <a:off x="6394920" y="4966814"/>
            <a:ext cx="1509688" cy="58790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anage Inventory &amp; Assets</a:t>
            </a:r>
          </a:p>
        </p:txBody>
      </p:sp>
      <p:sp>
        <p:nvSpPr>
          <p:cNvPr id="22" name="正方形/長方形 72">
            <a:extLst>
              <a:ext uri="{FF2B5EF4-FFF2-40B4-BE49-F238E27FC236}">
                <a16:creationId xmlns:a16="http://schemas.microsoft.com/office/drawing/2014/main" id="{02844F82-F94F-8DC0-5AE7-331B1A9D6248}"/>
              </a:ext>
            </a:extLst>
          </p:cNvPr>
          <p:cNvSpPr/>
          <p:nvPr/>
        </p:nvSpPr>
        <p:spPr>
          <a:xfrm>
            <a:off x="6394918" y="4275591"/>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roduce Quality Product</a:t>
            </a:r>
          </a:p>
        </p:txBody>
      </p:sp>
      <p:sp>
        <p:nvSpPr>
          <p:cNvPr id="23" name="正方形/長方形 73">
            <a:extLst>
              <a:ext uri="{FF2B5EF4-FFF2-40B4-BE49-F238E27FC236}">
                <a16:creationId xmlns:a16="http://schemas.microsoft.com/office/drawing/2014/main" id="{8236915B-AB42-06D0-D6F0-7DCFCD685766}"/>
              </a:ext>
            </a:extLst>
          </p:cNvPr>
          <p:cNvSpPr/>
          <p:nvPr/>
        </p:nvSpPr>
        <p:spPr>
          <a:xfrm>
            <a:off x="6394918" y="3584367"/>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lan / Schedule Production</a:t>
            </a:r>
          </a:p>
        </p:txBody>
      </p:sp>
      <p:sp>
        <p:nvSpPr>
          <p:cNvPr id="24" name="正方形/長方形 74">
            <a:extLst>
              <a:ext uri="{FF2B5EF4-FFF2-40B4-BE49-F238E27FC236}">
                <a16:creationId xmlns:a16="http://schemas.microsoft.com/office/drawing/2014/main" id="{0FF28CE6-8CB4-C7BC-B207-6F7916DD7B32}"/>
              </a:ext>
            </a:extLst>
          </p:cNvPr>
          <p:cNvSpPr/>
          <p:nvPr/>
        </p:nvSpPr>
        <p:spPr>
          <a:xfrm>
            <a:off x="6394918" y="2893143"/>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quest / Reserve Resources</a:t>
            </a:r>
          </a:p>
        </p:txBody>
      </p:sp>
      <p:sp>
        <p:nvSpPr>
          <p:cNvPr id="25" name="正方形/長方形 75">
            <a:extLst>
              <a:ext uri="{FF2B5EF4-FFF2-40B4-BE49-F238E27FC236}">
                <a16:creationId xmlns:a16="http://schemas.microsoft.com/office/drawing/2014/main" id="{169295DA-86DD-AC45-6FAA-A061D1B36067}"/>
              </a:ext>
            </a:extLst>
          </p:cNvPr>
          <p:cNvSpPr/>
          <p:nvPr/>
        </p:nvSpPr>
        <p:spPr>
          <a:xfrm>
            <a:off x="6394918" y="2201919"/>
            <a:ext cx="1509688"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orecast Demand / Supply</a:t>
            </a:r>
          </a:p>
        </p:txBody>
      </p:sp>
      <p:sp>
        <p:nvSpPr>
          <p:cNvPr id="26" name="正方形/長方形 81">
            <a:extLst>
              <a:ext uri="{FF2B5EF4-FFF2-40B4-BE49-F238E27FC236}">
                <a16:creationId xmlns:a16="http://schemas.microsoft.com/office/drawing/2014/main" id="{EEA3D268-229D-129C-4C48-3CA3D6818A28}"/>
              </a:ext>
            </a:extLst>
          </p:cNvPr>
          <p:cNvSpPr/>
          <p:nvPr/>
        </p:nvSpPr>
        <p:spPr>
          <a:xfrm>
            <a:off x="9226458" y="4966814"/>
            <a:ext cx="1509688" cy="587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upport Decisions &amp; Compliance</a:t>
            </a:r>
          </a:p>
        </p:txBody>
      </p:sp>
      <p:sp>
        <p:nvSpPr>
          <p:cNvPr id="27" name="正方形/長方形 82">
            <a:extLst>
              <a:ext uri="{FF2B5EF4-FFF2-40B4-BE49-F238E27FC236}">
                <a16:creationId xmlns:a16="http://schemas.microsoft.com/office/drawing/2014/main" id="{8B9550F4-967F-34B1-253A-D531CF8B333D}"/>
              </a:ext>
            </a:extLst>
          </p:cNvPr>
          <p:cNvSpPr/>
          <p:nvPr/>
        </p:nvSpPr>
        <p:spPr>
          <a:xfrm>
            <a:off x="9226458" y="4275591"/>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Report Results</a:t>
            </a:r>
          </a:p>
        </p:txBody>
      </p:sp>
      <p:sp>
        <p:nvSpPr>
          <p:cNvPr id="28" name="正方形/長方形 83">
            <a:extLst>
              <a:ext uri="{FF2B5EF4-FFF2-40B4-BE49-F238E27FC236}">
                <a16:creationId xmlns:a16="http://schemas.microsoft.com/office/drawing/2014/main" id="{73144CAC-4AB5-06F8-108F-FB8D3E4535FA}"/>
              </a:ext>
            </a:extLst>
          </p:cNvPr>
          <p:cNvSpPr/>
          <p:nvPr/>
        </p:nvSpPr>
        <p:spPr>
          <a:xfrm>
            <a:off x="9226458" y="3584367"/>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Close / Consolidate</a:t>
            </a:r>
          </a:p>
        </p:txBody>
      </p:sp>
      <p:sp>
        <p:nvSpPr>
          <p:cNvPr id="29" name="正方形/長方形 84">
            <a:extLst>
              <a:ext uri="{FF2B5EF4-FFF2-40B4-BE49-F238E27FC236}">
                <a16:creationId xmlns:a16="http://schemas.microsoft.com/office/drawing/2014/main" id="{F5DF5499-D66D-482A-C69C-A9E974AC5F85}"/>
              </a:ext>
            </a:extLst>
          </p:cNvPr>
          <p:cNvSpPr/>
          <p:nvPr/>
        </p:nvSpPr>
        <p:spPr>
          <a:xfrm>
            <a:off x="9226458" y="2893143"/>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l Record / Settle Transactions</a:t>
            </a:r>
          </a:p>
        </p:txBody>
      </p:sp>
      <p:sp>
        <p:nvSpPr>
          <p:cNvPr id="30" name="正方形/長方形 85">
            <a:extLst>
              <a:ext uri="{FF2B5EF4-FFF2-40B4-BE49-F238E27FC236}">
                <a16:creationId xmlns:a16="http://schemas.microsoft.com/office/drawing/2014/main" id="{DC1E3446-3FD5-703D-BC51-C3470C7F5230}"/>
              </a:ext>
            </a:extLst>
          </p:cNvPr>
          <p:cNvSpPr/>
          <p:nvPr/>
        </p:nvSpPr>
        <p:spPr>
          <a:xfrm>
            <a:off x="9226458" y="2201919"/>
            <a:ext cx="1509688"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Define Financial Structure &amp; Plans</a:t>
            </a:r>
          </a:p>
        </p:txBody>
      </p:sp>
      <p:sp>
        <p:nvSpPr>
          <p:cNvPr id="31" name="正方形/長方形 113">
            <a:extLst>
              <a:ext uri="{FF2B5EF4-FFF2-40B4-BE49-F238E27FC236}">
                <a16:creationId xmlns:a16="http://schemas.microsoft.com/office/drawing/2014/main" id="{20C3430C-566B-3F10-F2E6-4F532F4AD931}"/>
              </a:ext>
            </a:extLst>
          </p:cNvPr>
          <p:cNvSpPr/>
          <p:nvPr/>
        </p:nvSpPr>
        <p:spPr>
          <a:xfrm>
            <a:off x="3492116" y="1391152"/>
            <a:ext cx="542694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Ubuntu"/>
                <a:ea typeface="+mn-ea"/>
                <a:cs typeface="+mn-cs"/>
              </a:rPr>
              <a:t>Supply Chain Management</a:t>
            </a:r>
            <a:endParaRPr kumimoji="1" lang="ja-JP" alt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32" name="正方形/長方形 114">
            <a:extLst>
              <a:ext uri="{FF2B5EF4-FFF2-40B4-BE49-F238E27FC236}">
                <a16:creationId xmlns:a16="http://schemas.microsoft.com/office/drawing/2014/main" id="{6718E2C2-E263-C699-E41E-7311700B02D7}"/>
              </a:ext>
            </a:extLst>
          </p:cNvPr>
          <p:cNvSpPr/>
          <p:nvPr/>
        </p:nvSpPr>
        <p:spPr>
          <a:xfrm>
            <a:off x="9233739" y="1391152"/>
            <a:ext cx="2501616"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Ubuntu"/>
                <a:ea typeface="+mn-ea"/>
                <a:cs typeface="+mn-cs"/>
              </a:rPr>
              <a:t>Finance &amp; Accounting</a:t>
            </a:r>
            <a:endParaRPr kumimoji="1" lang="ja-JP" alt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33" name="正方形/長方形 124">
            <a:extLst>
              <a:ext uri="{FF2B5EF4-FFF2-40B4-BE49-F238E27FC236}">
                <a16:creationId xmlns:a16="http://schemas.microsoft.com/office/drawing/2014/main" id="{6862BE23-2F35-B31C-DE88-24831495481B}"/>
              </a:ext>
            </a:extLst>
          </p:cNvPr>
          <p:cNvSpPr/>
          <p:nvPr/>
        </p:nvSpPr>
        <p:spPr>
          <a:xfrm>
            <a:off x="533400" y="1391152"/>
            <a:ext cx="255434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Ubuntu"/>
                <a:ea typeface="+mn-ea"/>
                <a:cs typeface="+mn-cs"/>
              </a:rPr>
              <a:t>Sales</a:t>
            </a:r>
            <a:endParaRPr kumimoji="1" lang="ja-JP" alt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34" name="正方形/長方形 71">
            <a:extLst>
              <a:ext uri="{FF2B5EF4-FFF2-40B4-BE49-F238E27FC236}">
                <a16:creationId xmlns:a16="http://schemas.microsoft.com/office/drawing/2014/main" id="{11764946-7B05-CC99-8D18-500E2888EED4}"/>
              </a:ext>
            </a:extLst>
          </p:cNvPr>
          <p:cNvSpPr/>
          <p:nvPr/>
        </p:nvSpPr>
        <p:spPr>
          <a:xfrm>
            <a:off x="533400" y="5598666"/>
            <a:ext cx="415484" cy="15164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000" b="0" i="0" u="none" strike="noStrike" kern="1200" cap="none" spc="0" normalizeH="0" baseline="0" noProof="0">
              <a:ln>
                <a:noFill/>
              </a:ln>
              <a:solidFill>
                <a:prstClr val="black"/>
              </a:solidFill>
              <a:effectLst/>
              <a:uLnTx/>
              <a:uFillTx/>
              <a:latin typeface="Ubuntu"/>
              <a:ea typeface="+mn-ea"/>
              <a:cs typeface="+mn-cs"/>
            </a:endParaRPr>
          </a:p>
        </p:txBody>
      </p:sp>
      <p:sp>
        <p:nvSpPr>
          <p:cNvPr id="35" name="TextBox 34">
            <a:extLst>
              <a:ext uri="{FF2B5EF4-FFF2-40B4-BE49-F238E27FC236}">
                <a16:creationId xmlns:a16="http://schemas.microsoft.com/office/drawing/2014/main" id="{BFF45BFA-6B54-5EAA-EDA9-C432CA5E98CF}"/>
              </a:ext>
            </a:extLst>
          </p:cNvPr>
          <p:cNvSpPr txBox="1"/>
          <p:nvPr/>
        </p:nvSpPr>
        <p:spPr>
          <a:xfrm>
            <a:off x="1066800" y="5529316"/>
            <a:ext cx="914400" cy="188333"/>
          </a:xfrm>
          <a:prstGeom prst="rect">
            <a:avLst/>
          </a:prstGeom>
          <a:noFill/>
        </p:spPr>
        <p:txBody>
          <a:bodyPr wrap="non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Requires additional scope</a:t>
            </a:r>
          </a:p>
        </p:txBody>
      </p:sp>
      <p:sp>
        <p:nvSpPr>
          <p:cNvPr id="36" name="正方形/長方形 61">
            <a:extLst>
              <a:ext uri="{FF2B5EF4-FFF2-40B4-BE49-F238E27FC236}">
                <a16:creationId xmlns:a16="http://schemas.microsoft.com/office/drawing/2014/main" id="{7079A515-8A76-9B6B-CD1C-F1D6A7F9FF16}"/>
              </a:ext>
            </a:extLst>
          </p:cNvPr>
          <p:cNvSpPr/>
          <p:nvPr/>
        </p:nvSpPr>
        <p:spPr>
          <a:xfrm>
            <a:off x="2173340" y="4966814"/>
            <a:ext cx="914400" cy="587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a:t>
            </a:r>
          </a:p>
        </p:txBody>
      </p:sp>
      <p:sp>
        <p:nvSpPr>
          <p:cNvPr id="37" name="正方形/長方形 62">
            <a:extLst>
              <a:ext uri="{FF2B5EF4-FFF2-40B4-BE49-F238E27FC236}">
                <a16:creationId xmlns:a16="http://schemas.microsoft.com/office/drawing/2014/main" id="{91F0E209-47DC-E243-D227-19F1F5C7C2C9}"/>
              </a:ext>
            </a:extLst>
          </p:cNvPr>
          <p:cNvSpPr/>
          <p:nvPr/>
        </p:nvSpPr>
        <p:spPr>
          <a:xfrm>
            <a:off x="2173340" y="4275591"/>
            <a:ext cx="914400"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D</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GTS</a:t>
            </a:r>
          </a:p>
        </p:txBody>
      </p:sp>
      <p:sp>
        <p:nvSpPr>
          <p:cNvPr id="38" name="正方形/長方形 63">
            <a:extLst>
              <a:ext uri="{FF2B5EF4-FFF2-40B4-BE49-F238E27FC236}">
                <a16:creationId xmlns:a16="http://schemas.microsoft.com/office/drawing/2014/main" id="{41649F0F-A868-3771-DF5E-28AF8AB6843C}"/>
              </a:ext>
            </a:extLst>
          </p:cNvPr>
          <p:cNvSpPr/>
          <p:nvPr/>
        </p:nvSpPr>
        <p:spPr>
          <a:xfrm>
            <a:off x="2173340" y="3584367"/>
            <a:ext cx="914400"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ts val="11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D </a:t>
            </a:r>
          </a:p>
          <a:p>
            <a:pPr marL="171450" marR="0" lvl="0" indent="-171450" algn="l" defTabSz="914400" rtl="0" eaLnBrk="1" fontAlgn="auto" latinLnBrk="0" hangingPunct="1">
              <a:lnSpc>
                <a:spcPts val="11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TM</a:t>
            </a:r>
          </a:p>
          <a:p>
            <a:pPr marL="171450" marR="0" lvl="0" indent="-171450" algn="l" defTabSz="914400" rtl="0" eaLnBrk="1" fontAlgn="auto" latinLnBrk="0" hangingPunct="1">
              <a:lnSpc>
                <a:spcPts val="11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EWM</a:t>
            </a:r>
            <a:r>
              <a:rPr kumimoji="0" lang="en-US" altLang="ja-JP" sz="1000" b="0" i="0" u="none" strike="noStrike" kern="1200" cap="none" spc="0" normalizeH="0" baseline="0" noProof="0">
                <a:ln>
                  <a:noFill/>
                </a:ln>
                <a:solidFill>
                  <a:prstClr val="black"/>
                </a:solidFill>
                <a:effectLst/>
                <a:uLnTx/>
                <a:uFillTx/>
                <a:latin typeface="Ubuntu"/>
                <a:ea typeface="+mn-ea"/>
                <a:cs typeface="+mn-cs"/>
              </a:rPr>
              <a:t> / WM</a:t>
            </a:r>
          </a:p>
          <a:p>
            <a:pPr marL="171450" marR="0" lvl="0" indent="-171450" algn="l" defTabSz="914400" rtl="0" eaLnBrk="1" fontAlgn="auto" latinLnBrk="0" hangingPunct="1">
              <a:lnSpc>
                <a:spcPts val="11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EHSM</a:t>
            </a:r>
          </a:p>
        </p:txBody>
      </p:sp>
      <p:sp>
        <p:nvSpPr>
          <p:cNvPr id="39" name="正方形/長方形 64">
            <a:extLst>
              <a:ext uri="{FF2B5EF4-FFF2-40B4-BE49-F238E27FC236}">
                <a16:creationId xmlns:a16="http://schemas.microsoft.com/office/drawing/2014/main" id="{4948529B-1F0B-81E0-DAF7-ED1040C926B6}"/>
              </a:ext>
            </a:extLst>
          </p:cNvPr>
          <p:cNvSpPr/>
          <p:nvPr/>
        </p:nvSpPr>
        <p:spPr>
          <a:xfrm>
            <a:off x="2173340" y="2893143"/>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D</a:t>
            </a:r>
          </a:p>
        </p:txBody>
      </p:sp>
      <p:sp>
        <p:nvSpPr>
          <p:cNvPr id="40" name="正方形/長方形 65">
            <a:extLst>
              <a:ext uri="{FF2B5EF4-FFF2-40B4-BE49-F238E27FC236}">
                <a16:creationId xmlns:a16="http://schemas.microsoft.com/office/drawing/2014/main" id="{45CF10AE-66B5-4DED-A09C-E77FEB75B3E1}"/>
              </a:ext>
            </a:extLst>
          </p:cNvPr>
          <p:cNvSpPr/>
          <p:nvPr/>
        </p:nvSpPr>
        <p:spPr>
          <a:xfrm>
            <a:off x="2173340" y="2201919"/>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SD</a:t>
            </a:r>
          </a:p>
        </p:txBody>
      </p:sp>
      <p:sp>
        <p:nvSpPr>
          <p:cNvPr id="41" name="正方形/長方形 61">
            <a:extLst>
              <a:ext uri="{FF2B5EF4-FFF2-40B4-BE49-F238E27FC236}">
                <a16:creationId xmlns:a16="http://schemas.microsoft.com/office/drawing/2014/main" id="{8E7C3267-E9A4-F835-FD44-5BDCF73C408F}"/>
              </a:ext>
            </a:extLst>
          </p:cNvPr>
          <p:cNvSpPr/>
          <p:nvPr/>
        </p:nvSpPr>
        <p:spPr>
          <a:xfrm>
            <a:off x="5146750" y="4966814"/>
            <a:ext cx="914400" cy="58790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M/FI</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VIM</a:t>
            </a:r>
          </a:p>
        </p:txBody>
      </p:sp>
      <p:sp>
        <p:nvSpPr>
          <p:cNvPr id="42" name="正方形/長方形 62">
            <a:extLst>
              <a:ext uri="{FF2B5EF4-FFF2-40B4-BE49-F238E27FC236}">
                <a16:creationId xmlns:a16="http://schemas.microsoft.com/office/drawing/2014/main" id="{8FD9D80E-850D-707E-5C58-650FFE539206}"/>
              </a:ext>
            </a:extLst>
          </p:cNvPr>
          <p:cNvSpPr/>
          <p:nvPr/>
        </p:nvSpPr>
        <p:spPr>
          <a:xfrm>
            <a:off x="5146750" y="4275591"/>
            <a:ext cx="914400"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M</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EWM</a:t>
            </a:r>
            <a:r>
              <a:rPr kumimoji="0" lang="en-US" altLang="ja-JP" sz="1000" b="0" i="0" u="none" strike="noStrike" kern="1200" cap="none" spc="0" normalizeH="0" baseline="0" noProof="0">
                <a:ln>
                  <a:noFill/>
                </a:ln>
                <a:solidFill>
                  <a:prstClr val="black"/>
                </a:solidFill>
                <a:effectLst/>
                <a:uLnTx/>
                <a:uFillTx/>
                <a:latin typeface="Ubuntu"/>
                <a:ea typeface="+mn-ea"/>
                <a:cs typeface="+mn-cs"/>
              </a:rPr>
              <a:t> / WM</a:t>
            </a:r>
          </a:p>
        </p:txBody>
      </p:sp>
      <p:sp>
        <p:nvSpPr>
          <p:cNvPr id="43" name="正方形/長方形 64">
            <a:extLst>
              <a:ext uri="{FF2B5EF4-FFF2-40B4-BE49-F238E27FC236}">
                <a16:creationId xmlns:a16="http://schemas.microsoft.com/office/drawing/2014/main" id="{FEEE92A2-ED0C-4617-9213-693789F98FD4}"/>
              </a:ext>
            </a:extLst>
          </p:cNvPr>
          <p:cNvSpPr/>
          <p:nvPr/>
        </p:nvSpPr>
        <p:spPr>
          <a:xfrm>
            <a:off x="5146750" y="2893143"/>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M</a:t>
            </a:r>
          </a:p>
        </p:txBody>
      </p:sp>
      <p:sp>
        <p:nvSpPr>
          <p:cNvPr id="44" name="正方形/長方形 65">
            <a:extLst>
              <a:ext uri="{FF2B5EF4-FFF2-40B4-BE49-F238E27FC236}">
                <a16:creationId xmlns:a16="http://schemas.microsoft.com/office/drawing/2014/main" id="{548379EC-6242-9C0A-CD01-5928AE369C15}"/>
              </a:ext>
            </a:extLst>
          </p:cNvPr>
          <p:cNvSpPr/>
          <p:nvPr/>
        </p:nvSpPr>
        <p:spPr>
          <a:xfrm>
            <a:off x="5146750" y="2201919"/>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M</a:t>
            </a:r>
          </a:p>
        </p:txBody>
      </p:sp>
      <p:sp>
        <p:nvSpPr>
          <p:cNvPr id="45" name="正方形/長方形 61">
            <a:extLst>
              <a:ext uri="{FF2B5EF4-FFF2-40B4-BE49-F238E27FC236}">
                <a16:creationId xmlns:a16="http://schemas.microsoft.com/office/drawing/2014/main" id="{1F2C16FF-E131-74A6-686E-56A831B3560F}"/>
              </a:ext>
            </a:extLst>
          </p:cNvPr>
          <p:cNvSpPr/>
          <p:nvPr/>
        </p:nvSpPr>
        <p:spPr>
          <a:xfrm>
            <a:off x="8004656" y="4966814"/>
            <a:ext cx="914400" cy="58790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P</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M</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EWM</a:t>
            </a:r>
            <a:r>
              <a:rPr kumimoji="0" lang="en-US" altLang="ja-JP" sz="1000" b="0" i="0" u="none" strike="noStrike" kern="1200" cap="none" spc="0" normalizeH="0" baseline="0" noProof="0">
                <a:ln>
                  <a:noFill/>
                </a:ln>
                <a:solidFill>
                  <a:prstClr val="black"/>
                </a:solidFill>
                <a:effectLst/>
                <a:uLnTx/>
                <a:uFillTx/>
                <a:latin typeface="Ubuntu"/>
                <a:ea typeface="+mn-ea"/>
                <a:cs typeface="+mn-cs"/>
              </a:rPr>
              <a:t> / WM</a:t>
            </a:r>
          </a:p>
        </p:txBody>
      </p:sp>
      <p:sp>
        <p:nvSpPr>
          <p:cNvPr id="46" name="正方形/長方形 62">
            <a:extLst>
              <a:ext uri="{FF2B5EF4-FFF2-40B4-BE49-F238E27FC236}">
                <a16:creationId xmlns:a16="http://schemas.microsoft.com/office/drawing/2014/main" id="{94934758-1D63-3C07-C28C-582729865017}"/>
              </a:ext>
            </a:extLst>
          </p:cNvPr>
          <p:cNvSpPr/>
          <p:nvPr/>
        </p:nvSpPr>
        <p:spPr>
          <a:xfrm>
            <a:off x="8004656" y="4275591"/>
            <a:ext cx="914400"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P</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QM</a:t>
            </a:r>
          </a:p>
        </p:txBody>
      </p:sp>
      <p:sp>
        <p:nvSpPr>
          <p:cNvPr id="47" name="正方形/長方形 63">
            <a:extLst>
              <a:ext uri="{FF2B5EF4-FFF2-40B4-BE49-F238E27FC236}">
                <a16:creationId xmlns:a16="http://schemas.microsoft.com/office/drawing/2014/main" id="{847D73A3-9F2C-4DA6-DBB4-A1257D8D7C74}"/>
              </a:ext>
            </a:extLst>
          </p:cNvPr>
          <p:cNvSpPr/>
          <p:nvPr/>
        </p:nvSpPr>
        <p:spPr>
          <a:xfrm>
            <a:off x="8004656" y="3584367"/>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P</a:t>
            </a:r>
          </a:p>
        </p:txBody>
      </p:sp>
      <p:sp>
        <p:nvSpPr>
          <p:cNvPr id="48" name="正方形/長方形 64">
            <a:extLst>
              <a:ext uri="{FF2B5EF4-FFF2-40B4-BE49-F238E27FC236}">
                <a16:creationId xmlns:a16="http://schemas.microsoft.com/office/drawing/2014/main" id="{DCE34ED6-30E4-F38C-4BF5-CA328AC933D4}"/>
              </a:ext>
            </a:extLst>
          </p:cNvPr>
          <p:cNvSpPr/>
          <p:nvPr/>
        </p:nvSpPr>
        <p:spPr>
          <a:xfrm>
            <a:off x="8004656" y="2893143"/>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P</a:t>
            </a:r>
          </a:p>
        </p:txBody>
      </p:sp>
      <p:sp>
        <p:nvSpPr>
          <p:cNvPr id="49" name="正方形/長方形 65">
            <a:extLst>
              <a:ext uri="{FF2B5EF4-FFF2-40B4-BE49-F238E27FC236}">
                <a16:creationId xmlns:a16="http://schemas.microsoft.com/office/drawing/2014/main" id="{342BF03B-A9E7-92CB-6590-B3B1F1CA676D}"/>
              </a:ext>
            </a:extLst>
          </p:cNvPr>
          <p:cNvSpPr/>
          <p:nvPr/>
        </p:nvSpPr>
        <p:spPr>
          <a:xfrm>
            <a:off x="8004656" y="2201919"/>
            <a:ext cx="914400" cy="58521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P</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PPDS</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IBP</a:t>
            </a:r>
          </a:p>
        </p:txBody>
      </p:sp>
      <p:sp>
        <p:nvSpPr>
          <p:cNvPr id="50" name="正方形/長方形 61">
            <a:extLst>
              <a:ext uri="{FF2B5EF4-FFF2-40B4-BE49-F238E27FC236}">
                <a16:creationId xmlns:a16="http://schemas.microsoft.com/office/drawing/2014/main" id="{74B1230F-D397-8A09-45EF-8E41C4DC30EE}"/>
              </a:ext>
            </a:extLst>
          </p:cNvPr>
          <p:cNvSpPr/>
          <p:nvPr/>
        </p:nvSpPr>
        <p:spPr>
          <a:xfrm>
            <a:off x="10820956" y="4966814"/>
            <a:ext cx="914400" cy="587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CO</a:t>
            </a:r>
          </a:p>
        </p:txBody>
      </p:sp>
      <p:sp>
        <p:nvSpPr>
          <p:cNvPr id="51" name="正方形/長方形 62">
            <a:extLst>
              <a:ext uri="{FF2B5EF4-FFF2-40B4-BE49-F238E27FC236}">
                <a16:creationId xmlns:a16="http://schemas.microsoft.com/office/drawing/2014/main" id="{5D3A01E6-5D93-E6CC-0E8C-AC7C174C1AB2}"/>
              </a:ext>
            </a:extLst>
          </p:cNvPr>
          <p:cNvSpPr/>
          <p:nvPr/>
        </p:nvSpPr>
        <p:spPr>
          <a:xfrm>
            <a:off x="10820956" y="4275591"/>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CO</a:t>
            </a:r>
          </a:p>
        </p:txBody>
      </p:sp>
      <p:sp>
        <p:nvSpPr>
          <p:cNvPr id="52" name="正方形/長方形 63">
            <a:extLst>
              <a:ext uri="{FF2B5EF4-FFF2-40B4-BE49-F238E27FC236}">
                <a16:creationId xmlns:a16="http://schemas.microsoft.com/office/drawing/2014/main" id="{878C3836-35FC-71A5-1104-8A3E675845C4}"/>
              </a:ext>
            </a:extLst>
          </p:cNvPr>
          <p:cNvSpPr/>
          <p:nvPr/>
        </p:nvSpPr>
        <p:spPr>
          <a:xfrm>
            <a:off x="10820956" y="3584367"/>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CO</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PS</a:t>
            </a:r>
          </a:p>
        </p:txBody>
      </p:sp>
      <p:sp>
        <p:nvSpPr>
          <p:cNvPr id="53" name="正方形/長方形 64">
            <a:extLst>
              <a:ext uri="{FF2B5EF4-FFF2-40B4-BE49-F238E27FC236}">
                <a16:creationId xmlns:a16="http://schemas.microsoft.com/office/drawing/2014/main" id="{E1D90034-A255-B80F-4DE9-FD6B18254C58}"/>
              </a:ext>
            </a:extLst>
          </p:cNvPr>
          <p:cNvSpPr/>
          <p:nvPr/>
        </p:nvSpPr>
        <p:spPr>
          <a:xfrm>
            <a:off x="10820956" y="2893143"/>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CO</a:t>
            </a:r>
          </a:p>
        </p:txBody>
      </p:sp>
      <p:sp>
        <p:nvSpPr>
          <p:cNvPr id="54" name="正方形/長方形 65">
            <a:extLst>
              <a:ext uri="{FF2B5EF4-FFF2-40B4-BE49-F238E27FC236}">
                <a16:creationId xmlns:a16="http://schemas.microsoft.com/office/drawing/2014/main" id="{C043AD31-F0E7-79F4-D756-BAC08A16FDDF}"/>
              </a:ext>
            </a:extLst>
          </p:cNvPr>
          <p:cNvSpPr/>
          <p:nvPr/>
        </p:nvSpPr>
        <p:spPr>
          <a:xfrm>
            <a:off x="10820956" y="2201919"/>
            <a:ext cx="914400" cy="585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FICO</a:t>
            </a:r>
          </a:p>
        </p:txBody>
      </p:sp>
      <p:sp>
        <p:nvSpPr>
          <p:cNvPr id="55" name="正方形/長方形 65">
            <a:extLst>
              <a:ext uri="{FF2B5EF4-FFF2-40B4-BE49-F238E27FC236}">
                <a16:creationId xmlns:a16="http://schemas.microsoft.com/office/drawing/2014/main" id="{4AC853DF-F010-A2F6-545A-06B167DE19DF}"/>
              </a:ext>
            </a:extLst>
          </p:cNvPr>
          <p:cNvSpPr/>
          <p:nvPr/>
        </p:nvSpPr>
        <p:spPr>
          <a:xfrm>
            <a:off x="533400" y="1696261"/>
            <a:ext cx="1509688"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Process</a:t>
            </a:r>
          </a:p>
        </p:txBody>
      </p:sp>
      <p:sp>
        <p:nvSpPr>
          <p:cNvPr id="56" name="正方形/長方形 65">
            <a:extLst>
              <a:ext uri="{FF2B5EF4-FFF2-40B4-BE49-F238E27FC236}">
                <a16:creationId xmlns:a16="http://schemas.microsoft.com/office/drawing/2014/main" id="{9404A8C1-48AC-5806-D7D1-7BD17DC56C64}"/>
              </a:ext>
            </a:extLst>
          </p:cNvPr>
          <p:cNvSpPr/>
          <p:nvPr/>
        </p:nvSpPr>
        <p:spPr>
          <a:xfrm>
            <a:off x="2173340" y="1696261"/>
            <a:ext cx="914400"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SAP Module</a:t>
            </a:r>
          </a:p>
        </p:txBody>
      </p:sp>
      <p:sp>
        <p:nvSpPr>
          <p:cNvPr id="57" name="正方形/長方形 65">
            <a:extLst>
              <a:ext uri="{FF2B5EF4-FFF2-40B4-BE49-F238E27FC236}">
                <a16:creationId xmlns:a16="http://schemas.microsoft.com/office/drawing/2014/main" id="{603F1A02-8538-CE41-8173-6D84F5FF5C54}"/>
              </a:ext>
            </a:extLst>
          </p:cNvPr>
          <p:cNvSpPr/>
          <p:nvPr/>
        </p:nvSpPr>
        <p:spPr>
          <a:xfrm>
            <a:off x="3491147" y="1686821"/>
            <a:ext cx="1509688"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Process</a:t>
            </a:r>
          </a:p>
        </p:txBody>
      </p:sp>
      <p:sp>
        <p:nvSpPr>
          <p:cNvPr id="58" name="正方形/長方形 65">
            <a:extLst>
              <a:ext uri="{FF2B5EF4-FFF2-40B4-BE49-F238E27FC236}">
                <a16:creationId xmlns:a16="http://schemas.microsoft.com/office/drawing/2014/main" id="{531AD8C8-6CB0-FA38-55C2-07E0FEB14B3B}"/>
              </a:ext>
            </a:extLst>
          </p:cNvPr>
          <p:cNvSpPr/>
          <p:nvPr/>
        </p:nvSpPr>
        <p:spPr>
          <a:xfrm>
            <a:off x="5146750" y="1696261"/>
            <a:ext cx="914400"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SAP Module</a:t>
            </a:r>
          </a:p>
        </p:txBody>
      </p:sp>
      <p:sp>
        <p:nvSpPr>
          <p:cNvPr id="59" name="正方形/長方形 65">
            <a:extLst>
              <a:ext uri="{FF2B5EF4-FFF2-40B4-BE49-F238E27FC236}">
                <a16:creationId xmlns:a16="http://schemas.microsoft.com/office/drawing/2014/main" id="{64521905-2319-7095-60F2-CE6609EF317F}"/>
              </a:ext>
            </a:extLst>
          </p:cNvPr>
          <p:cNvSpPr/>
          <p:nvPr/>
        </p:nvSpPr>
        <p:spPr>
          <a:xfrm>
            <a:off x="6394918" y="1686821"/>
            <a:ext cx="1509688"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Process</a:t>
            </a:r>
          </a:p>
        </p:txBody>
      </p:sp>
      <p:sp>
        <p:nvSpPr>
          <p:cNvPr id="60" name="正方形/長方形 65">
            <a:extLst>
              <a:ext uri="{FF2B5EF4-FFF2-40B4-BE49-F238E27FC236}">
                <a16:creationId xmlns:a16="http://schemas.microsoft.com/office/drawing/2014/main" id="{AF51747C-5583-56AF-AD7D-61CAB3497530}"/>
              </a:ext>
            </a:extLst>
          </p:cNvPr>
          <p:cNvSpPr/>
          <p:nvPr/>
        </p:nvSpPr>
        <p:spPr>
          <a:xfrm>
            <a:off x="8004656" y="1696261"/>
            <a:ext cx="914400"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SAP Module</a:t>
            </a:r>
          </a:p>
        </p:txBody>
      </p:sp>
      <p:sp>
        <p:nvSpPr>
          <p:cNvPr id="61" name="正方形/長方形 65">
            <a:extLst>
              <a:ext uri="{FF2B5EF4-FFF2-40B4-BE49-F238E27FC236}">
                <a16:creationId xmlns:a16="http://schemas.microsoft.com/office/drawing/2014/main" id="{7A88753D-A92B-6C74-00FB-F348DEDA7794}"/>
              </a:ext>
            </a:extLst>
          </p:cNvPr>
          <p:cNvSpPr/>
          <p:nvPr/>
        </p:nvSpPr>
        <p:spPr>
          <a:xfrm>
            <a:off x="9226458" y="1686821"/>
            <a:ext cx="1509688"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Process</a:t>
            </a:r>
          </a:p>
        </p:txBody>
      </p:sp>
      <p:sp>
        <p:nvSpPr>
          <p:cNvPr id="62" name="正方形/長方形 65">
            <a:extLst>
              <a:ext uri="{FF2B5EF4-FFF2-40B4-BE49-F238E27FC236}">
                <a16:creationId xmlns:a16="http://schemas.microsoft.com/office/drawing/2014/main" id="{D2B7ED8C-2C7B-B2D2-CF0E-1327ED651501}"/>
              </a:ext>
            </a:extLst>
          </p:cNvPr>
          <p:cNvSpPr/>
          <p:nvPr/>
        </p:nvSpPr>
        <p:spPr>
          <a:xfrm>
            <a:off x="10820956" y="1696261"/>
            <a:ext cx="914400" cy="42743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SAP Module</a:t>
            </a:r>
          </a:p>
        </p:txBody>
      </p:sp>
      <p:sp>
        <p:nvSpPr>
          <p:cNvPr id="63" name="TextBox 62">
            <a:extLst>
              <a:ext uri="{FF2B5EF4-FFF2-40B4-BE49-F238E27FC236}">
                <a16:creationId xmlns:a16="http://schemas.microsoft.com/office/drawing/2014/main" id="{385D2B81-B0BD-0029-7FA4-7E92C8E660C2}"/>
              </a:ext>
            </a:extLst>
          </p:cNvPr>
          <p:cNvSpPr txBox="1"/>
          <p:nvPr/>
        </p:nvSpPr>
        <p:spPr>
          <a:xfrm>
            <a:off x="1066800" y="5765553"/>
            <a:ext cx="914400" cy="188333"/>
          </a:xfrm>
          <a:prstGeom prst="rect">
            <a:avLst/>
          </a:prstGeom>
          <a:noFill/>
        </p:spPr>
        <p:txBody>
          <a:bodyPr wrap="non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Currently included in </a:t>
            </a:r>
            <a:r>
              <a:rPr kumimoji="0" lang="en-US" sz="900" b="0" i="0" u="none" strike="noStrike" kern="1200" cap="none" spc="0" normalizeH="0" baseline="0" noProof="0" err="1">
                <a:ln>
                  <a:noFill/>
                </a:ln>
                <a:solidFill>
                  <a:prstClr val="black"/>
                </a:solidFill>
                <a:effectLst/>
                <a:uLnTx/>
                <a:uFillTx/>
                <a:latin typeface="Ubuntu"/>
                <a:ea typeface="+mn-ea"/>
                <a:cs typeface="+mn-cs"/>
              </a:rPr>
              <a:t>Mone</a:t>
            </a:r>
            <a:r>
              <a:rPr kumimoji="0" lang="en-US" sz="900" b="0" i="0" u="none" strike="noStrike" kern="1200" cap="none" spc="0" normalizeH="0" baseline="0" noProof="0">
                <a:ln>
                  <a:noFill/>
                </a:ln>
                <a:solidFill>
                  <a:prstClr val="black"/>
                </a:solidFill>
                <a:effectLst/>
                <a:uLnTx/>
                <a:uFillTx/>
                <a:latin typeface="Ubuntu"/>
                <a:ea typeface="+mn-ea"/>
                <a:cs typeface="+mn-cs"/>
              </a:rPr>
              <a:t>-G</a:t>
            </a:r>
          </a:p>
        </p:txBody>
      </p:sp>
      <p:sp>
        <p:nvSpPr>
          <p:cNvPr id="64" name="TextBox 63">
            <a:extLst>
              <a:ext uri="{FF2B5EF4-FFF2-40B4-BE49-F238E27FC236}">
                <a16:creationId xmlns:a16="http://schemas.microsoft.com/office/drawing/2014/main" id="{AF43A3F4-1F49-AF58-9004-25232B6D6F41}"/>
              </a:ext>
            </a:extLst>
          </p:cNvPr>
          <p:cNvSpPr txBox="1"/>
          <p:nvPr/>
        </p:nvSpPr>
        <p:spPr>
          <a:xfrm>
            <a:off x="533400" y="5765553"/>
            <a:ext cx="365760" cy="188333"/>
          </a:xfrm>
          <a:prstGeom prst="rect">
            <a:avLst/>
          </a:prstGeom>
          <a:noFill/>
        </p:spPr>
        <p:txBody>
          <a:bodyPr wrap="none" lIns="0" tIns="72000" rIns="234000" bIns="0" rtlCol="0"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 </a:t>
            </a:r>
          </a:p>
        </p:txBody>
      </p:sp>
      <p:sp>
        <p:nvSpPr>
          <p:cNvPr id="65" name="TextBox 64">
            <a:extLst>
              <a:ext uri="{FF2B5EF4-FFF2-40B4-BE49-F238E27FC236}">
                <a16:creationId xmlns:a16="http://schemas.microsoft.com/office/drawing/2014/main" id="{B9FCBD0F-A071-29AE-A1F9-57628FF9EF9D}"/>
              </a:ext>
            </a:extLst>
          </p:cNvPr>
          <p:cNvSpPr txBox="1"/>
          <p:nvPr/>
        </p:nvSpPr>
        <p:spPr>
          <a:xfrm>
            <a:off x="1066800" y="5991259"/>
            <a:ext cx="914400" cy="188333"/>
          </a:xfrm>
          <a:prstGeom prst="rect">
            <a:avLst/>
          </a:prstGeom>
          <a:noFill/>
        </p:spPr>
        <p:txBody>
          <a:bodyPr wrap="non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Currently </a:t>
            </a:r>
            <a:r>
              <a:rPr kumimoji="0" lang="en-US" sz="900" b="1" i="0" u="none" strike="noStrike" kern="1200" cap="none" spc="0" normalizeH="0" baseline="0" noProof="0">
                <a:ln>
                  <a:noFill/>
                </a:ln>
                <a:solidFill>
                  <a:prstClr val="black"/>
                </a:solidFill>
                <a:effectLst/>
                <a:uLnTx/>
                <a:uFillTx/>
                <a:latin typeface="Ubuntu"/>
                <a:ea typeface="+mn-ea"/>
                <a:cs typeface="+mn-cs"/>
              </a:rPr>
              <a:t>not</a:t>
            </a:r>
            <a:r>
              <a:rPr kumimoji="0" lang="en-US" sz="900" b="0" i="0" u="none" strike="noStrike" kern="1200" cap="none" spc="0" normalizeH="0" baseline="0" noProof="0">
                <a:ln>
                  <a:noFill/>
                </a:ln>
                <a:solidFill>
                  <a:prstClr val="black"/>
                </a:solidFill>
                <a:effectLst/>
                <a:uLnTx/>
                <a:uFillTx/>
                <a:latin typeface="Ubuntu"/>
                <a:ea typeface="+mn-ea"/>
                <a:cs typeface="+mn-cs"/>
              </a:rPr>
              <a:t> included in </a:t>
            </a:r>
            <a:r>
              <a:rPr kumimoji="0" lang="en-US" sz="900" b="0" i="0" u="none" strike="noStrike" kern="1200" cap="none" spc="0" normalizeH="0" baseline="0" noProof="0" err="1">
                <a:ln>
                  <a:noFill/>
                </a:ln>
                <a:solidFill>
                  <a:prstClr val="black"/>
                </a:solidFill>
                <a:effectLst/>
                <a:uLnTx/>
                <a:uFillTx/>
                <a:latin typeface="Ubuntu"/>
                <a:ea typeface="+mn-ea"/>
                <a:cs typeface="+mn-cs"/>
              </a:rPr>
              <a:t>Mone</a:t>
            </a:r>
            <a:r>
              <a:rPr kumimoji="0" lang="en-US" sz="900" b="0" i="0" u="none" strike="noStrike" kern="1200" cap="none" spc="0" normalizeH="0" baseline="0" noProof="0">
                <a:ln>
                  <a:noFill/>
                </a:ln>
                <a:solidFill>
                  <a:prstClr val="black"/>
                </a:solidFill>
                <a:effectLst/>
                <a:uLnTx/>
                <a:uFillTx/>
                <a:latin typeface="Ubuntu"/>
                <a:ea typeface="+mn-ea"/>
                <a:cs typeface="+mn-cs"/>
              </a:rPr>
              <a:t>-G</a:t>
            </a:r>
          </a:p>
        </p:txBody>
      </p:sp>
      <p:sp>
        <p:nvSpPr>
          <p:cNvPr id="66" name="TextBox 65">
            <a:extLst>
              <a:ext uri="{FF2B5EF4-FFF2-40B4-BE49-F238E27FC236}">
                <a16:creationId xmlns:a16="http://schemas.microsoft.com/office/drawing/2014/main" id="{CFAF4AB6-C7D4-2C87-E956-3D82A481C079}"/>
              </a:ext>
            </a:extLst>
          </p:cNvPr>
          <p:cNvSpPr txBox="1"/>
          <p:nvPr/>
        </p:nvSpPr>
        <p:spPr>
          <a:xfrm>
            <a:off x="533400" y="5983867"/>
            <a:ext cx="365760" cy="188333"/>
          </a:xfrm>
          <a:prstGeom prst="rect">
            <a:avLst/>
          </a:prstGeom>
          <a:noFill/>
        </p:spPr>
        <p:txBody>
          <a:bodyPr wrap="none" lIns="0" tIns="72000" rIns="234000" bIns="0" rtlCol="0"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 </a:t>
            </a:r>
          </a:p>
        </p:txBody>
      </p:sp>
      <p:sp>
        <p:nvSpPr>
          <p:cNvPr id="67" name="TextBox 66">
            <a:extLst>
              <a:ext uri="{FF2B5EF4-FFF2-40B4-BE49-F238E27FC236}">
                <a16:creationId xmlns:a16="http://schemas.microsoft.com/office/drawing/2014/main" id="{8C707F9B-1B16-045B-8358-510E5963882C}"/>
              </a:ext>
            </a:extLst>
          </p:cNvPr>
          <p:cNvSpPr txBox="1"/>
          <p:nvPr/>
        </p:nvSpPr>
        <p:spPr>
          <a:xfrm>
            <a:off x="1066800" y="6216965"/>
            <a:ext cx="914400" cy="188333"/>
          </a:xfrm>
          <a:prstGeom prst="rect">
            <a:avLst/>
          </a:prstGeom>
          <a:noFill/>
        </p:spPr>
        <p:txBody>
          <a:bodyPr wrap="none" lIns="0" tIns="72000" rIns="234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rPr>
              <a:t>Currently </a:t>
            </a:r>
            <a:r>
              <a:rPr kumimoji="0" lang="en-US" sz="900" b="1" i="0" u="none" strike="noStrike" kern="1200" cap="none" spc="0" normalizeH="0" baseline="0" noProof="0">
                <a:ln>
                  <a:noFill/>
                </a:ln>
                <a:solidFill>
                  <a:prstClr val="black"/>
                </a:solidFill>
                <a:effectLst/>
                <a:highlight>
                  <a:srgbClr val="FFFF00"/>
                </a:highlight>
                <a:uLnTx/>
                <a:uFillTx/>
                <a:latin typeface="Ubuntu"/>
                <a:ea typeface="+mn-ea"/>
                <a:cs typeface="+mn-cs"/>
              </a:rPr>
              <a:t>not</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rPr>
              <a:t> included in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rPr>
              <a:t>Mone</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rPr>
              <a:t>-G and requires extra-license </a:t>
            </a:r>
          </a:p>
        </p:txBody>
      </p:sp>
      <p:sp>
        <p:nvSpPr>
          <p:cNvPr id="68" name="TextBox 67">
            <a:extLst>
              <a:ext uri="{FF2B5EF4-FFF2-40B4-BE49-F238E27FC236}">
                <a16:creationId xmlns:a16="http://schemas.microsoft.com/office/drawing/2014/main" id="{46489B4C-066C-C0DE-5E1C-03A91F11010E}"/>
              </a:ext>
            </a:extLst>
          </p:cNvPr>
          <p:cNvSpPr txBox="1"/>
          <p:nvPr/>
        </p:nvSpPr>
        <p:spPr>
          <a:xfrm>
            <a:off x="533400" y="6212467"/>
            <a:ext cx="365760" cy="188333"/>
          </a:xfrm>
          <a:prstGeom prst="rect">
            <a:avLst/>
          </a:prstGeom>
          <a:noFill/>
        </p:spPr>
        <p:txBody>
          <a:bodyPr wrap="none" lIns="0" tIns="72000" rIns="234000" bIns="0" rtlCol="0"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 </a:t>
            </a:r>
          </a:p>
        </p:txBody>
      </p:sp>
      <p:sp>
        <p:nvSpPr>
          <p:cNvPr id="69" name="正方形/長方形 61">
            <a:extLst>
              <a:ext uri="{FF2B5EF4-FFF2-40B4-BE49-F238E27FC236}">
                <a16:creationId xmlns:a16="http://schemas.microsoft.com/office/drawing/2014/main" id="{86CC76F4-6EB0-26E9-9EB8-DAA1120A30B7}"/>
              </a:ext>
            </a:extLst>
          </p:cNvPr>
          <p:cNvSpPr/>
          <p:nvPr/>
        </p:nvSpPr>
        <p:spPr>
          <a:xfrm>
            <a:off x="5146750" y="3581677"/>
            <a:ext cx="914400" cy="587906"/>
          </a:xfrm>
          <a:prstGeom prst="rect">
            <a:avLst/>
          </a:prstGeom>
          <a:solidFill>
            <a:schemeClr val="bg1">
              <a:lumMod val="95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000" b="0" i="0" u="none" strike="noStrike" kern="1200" cap="none" spc="0" normalizeH="0" baseline="0" noProof="0">
                <a:ln>
                  <a:noFill/>
                </a:ln>
                <a:solidFill>
                  <a:prstClr val="black"/>
                </a:solidFill>
                <a:effectLst/>
                <a:uLnTx/>
                <a:uFillTx/>
                <a:latin typeface="Ubuntu"/>
                <a:ea typeface="+mn-ea"/>
                <a:cs typeface="+mn-cs"/>
              </a:rPr>
              <a:t>MM</a:t>
            </a:r>
          </a:p>
          <a:p>
            <a:pPr marL="171450" marR="0" lvl="0" indent="-171450" algn="l" defTabSz="914400" rtl="0" eaLnBrk="1" fontAlgn="auto" latinLnBrk="0" hangingPunct="1">
              <a:lnSpc>
                <a:spcPct val="10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altLang="ja-JP" sz="1000" b="0" i="0" u="none" strike="noStrike" kern="1200" cap="none" spc="0" normalizeH="0" baseline="0" noProof="0">
                <a:ln>
                  <a:noFill/>
                </a:ln>
                <a:solidFill>
                  <a:prstClr val="black"/>
                </a:solidFill>
                <a:effectLst/>
                <a:highlight>
                  <a:srgbClr val="FFFF00"/>
                </a:highlight>
                <a:uLnTx/>
                <a:uFillTx/>
                <a:latin typeface="Ubuntu"/>
                <a:ea typeface="+mn-ea"/>
                <a:cs typeface="+mn-cs"/>
              </a:rPr>
              <a:t>EHSM</a:t>
            </a:r>
          </a:p>
        </p:txBody>
      </p:sp>
      <p:sp>
        <p:nvSpPr>
          <p:cNvPr id="71" name="Slide Number Placeholder 2">
            <a:extLst>
              <a:ext uri="{FF2B5EF4-FFF2-40B4-BE49-F238E27FC236}">
                <a16:creationId xmlns:a16="http://schemas.microsoft.com/office/drawing/2014/main" id="{241CF175-7C49-5D72-21E5-C4F754271447}"/>
              </a:ext>
            </a:extLst>
          </p:cNvPr>
          <p:cNvSpPr txBox="1">
            <a:spLocks/>
          </p:cNvSpPr>
          <p:nvPr/>
        </p:nvSpPr>
        <p:spPr>
          <a:xfrm>
            <a:off x="242501" y="6495669"/>
            <a:ext cx="343673" cy="239418"/>
          </a:xfrm>
          <a:prstGeom prst="rect">
            <a:avLst/>
          </a:prstGeom>
        </p:spPr>
        <p:txBody>
          <a:bodyPr vert="horz" lIns="0" tIns="45720" rIns="91440" bIns="45720" rtlCol="0" anchor="t" anchorCtr="0"/>
          <a:lstStyle>
            <a:defPPr>
              <a:defRPr lang="en-US"/>
            </a:defPPr>
            <a:lvl1pPr marL="0" algn="l" defTabSz="914400" rtl="0" eaLnBrk="1" latinLnBrk="0" hangingPunct="1">
              <a:defRPr sz="11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394356-8693-4048-8EAF-2BF05B04AA80}" type="slidenum">
              <a:rPr lang="ja-JP" altLang="en-US" smtClean="0"/>
              <a:pPr/>
              <a:t>9</a:t>
            </a:fld>
            <a:endParaRPr lang="ja-JP" altLang="en-US" dirty="0"/>
          </a:p>
        </p:txBody>
      </p:sp>
      <p:sp>
        <p:nvSpPr>
          <p:cNvPr id="72" name="Footer Placeholder 4">
            <a:extLst>
              <a:ext uri="{FF2B5EF4-FFF2-40B4-BE49-F238E27FC236}">
                <a16:creationId xmlns:a16="http://schemas.microsoft.com/office/drawing/2014/main" id="{13C64BB3-9CF9-FBA1-10D1-1913B2CC8B53}"/>
              </a:ext>
            </a:extLst>
          </p:cNvPr>
          <p:cNvSpPr txBox="1">
            <a:spLocks/>
          </p:cNvSpPr>
          <p:nvPr/>
        </p:nvSpPr>
        <p:spPr>
          <a:xfrm>
            <a:off x="631366" y="6495669"/>
            <a:ext cx="4456805" cy="239418"/>
          </a:xfrm>
          <a:prstGeom prst="rect">
            <a:avLst/>
          </a:prstGeom>
        </p:spPr>
        <p:txBody>
          <a:bodyPr/>
          <a:lst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ja-JP"/>
              <a:t>Mitsubishi Chemical Group   </a:t>
            </a:r>
            <a:endParaRPr lang="ja-JP" altLang="en-US" dirty="0"/>
          </a:p>
        </p:txBody>
      </p:sp>
    </p:spTree>
    <p:extLst>
      <p:ext uri="{BB962C8B-B14F-4D97-AF65-F5344CB8AC3E}">
        <p14:creationId xmlns:p14="http://schemas.microsoft.com/office/powerpoint/2010/main" val="3681143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one Basic template">
  <a:themeElements>
    <a:clrScheme name="暖かみのある青">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190904_KIOXIA_PPTTemplate_16×9_EN.pptx" id="{5AD8D898-F077-B642-BDB7-6C321C9FDD91}" vid="{90AFABDF-A4D8-0844-B6E0-EEFE7C005DB1}"/>
    </a:ext>
  </a:extLst>
</a:theme>
</file>

<file path=ppt/theme/theme2.xml><?xml version="1.0" encoding="utf-8"?>
<a:theme xmlns:a="http://schemas.openxmlformats.org/drawingml/2006/main" name="3_Mone Basic template">
  <a:themeElements>
    <a:clrScheme name="暖かみのある青">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190904_KIOXIA_PPTTemplate_16×9_EN.pptx" id="{5AD8D898-F077-B642-BDB7-6C321C9FDD91}" vid="{90AFABDF-A4D8-0844-B6E0-EEFE7C005DB1}"/>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D81F64C862234AB5F69C9A64B24884" ma:contentTypeVersion="16" ma:contentTypeDescription="Create a new document." ma:contentTypeScope="" ma:versionID="86ab8c302802077d3cd6b5ae011a7e26">
  <xsd:schema xmlns:xsd="http://www.w3.org/2001/XMLSchema" xmlns:xs="http://www.w3.org/2001/XMLSchema" xmlns:p="http://schemas.microsoft.com/office/2006/metadata/properties" xmlns:ns2="62aafb33-abec-4b1f-928f-5e4cb63da6bb" xmlns:ns3="ba64286c-83aa-4139-a2c4-6e8d74af62db" targetNamespace="http://schemas.microsoft.com/office/2006/metadata/properties" ma:root="true" ma:fieldsID="4504c0838b42f4fd148a9f49ac79dc98" ns2:_="" ns3:_="">
    <xsd:import namespace="62aafb33-abec-4b1f-928f-5e4cb63da6bb"/>
    <xsd:import namespace="ba64286c-83aa-4139-a2c4-6e8d74af62d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aafb33-abec-4b1f-928f-5e4cb63da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64286c-83aa-4139-a2c4-6e8d74af62d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2aafb33-abec-4b1f-928f-5e4cb63da6bb">
      <Terms xmlns="http://schemas.microsoft.com/office/infopath/2007/PartnerControls"/>
    </lcf76f155ced4ddcb4097134ff3c332f>
    <SharedWithUsers xmlns="ba64286c-83aa-4139-a2c4-6e8d74af62db">
      <UserInfo>
        <DisplayName>P, Mabu</DisplayName>
        <AccountId>90</AccountId>
        <AccountType/>
      </UserInfo>
      <UserInfo>
        <DisplayName>Leilany Franco Giles, Soraya</DisplayName>
        <AccountId>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5DB23E-4BE8-47F8-A563-D4F20FAE76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aafb33-abec-4b1f-928f-5e4cb63da6bb"/>
    <ds:schemaRef ds:uri="ba64286c-83aa-4139-a2c4-6e8d74af62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D3215BA-A4D2-4943-B8B2-90FC58EFC5E0}">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ba64286c-83aa-4139-a2c4-6e8d74af62db"/>
    <ds:schemaRef ds:uri="http://purl.org/dc/elements/1.1/"/>
    <ds:schemaRef ds:uri="http://schemas.microsoft.com/office/infopath/2007/PartnerControls"/>
    <ds:schemaRef ds:uri="62aafb33-abec-4b1f-928f-5e4cb63da6bb"/>
    <ds:schemaRef ds:uri="http://www.w3.org/XML/1998/namespace"/>
    <ds:schemaRef ds:uri="http://purl.org/dc/dcmitype/"/>
  </ds:schemaRefs>
</ds:datastoreItem>
</file>

<file path=customXml/itemProps3.xml><?xml version="1.0" encoding="utf-8"?>
<ds:datastoreItem xmlns:ds="http://schemas.openxmlformats.org/officeDocument/2006/customXml" ds:itemID="{7C8F9EC8-ED91-4558-9390-13DD5F445B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390</Words>
  <Application>Microsoft Office PowerPoint</Application>
  <PresentationFormat>Widescreen</PresentationFormat>
  <Paragraphs>904</Paragraphs>
  <Slides>43</Slides>
  <Notes>7</Notes>
  <HiddenSlides>0</HiddenSlides>
  <MMClips>0</MMClips>
  <ScaleCrop>false</ScaleCrop>
  <HeadingPairs>
    <vt:vector size="4" baseType="variant">
      <vt:variant>
        <vt:lpstr>Theme</vt:lpstr>
      </vt:variant>
      <vt:variant>
        <vt:i4>3</vt:i4>
      </vt:variant>
      <vt:variant>
        <vt:lpstr>Slide Titles</vt:lpstr>
      </vt:variant>
      <vt:variant>
        <vt:i4>43</vt:i4>
      </vt:variant>
    </vt:vector>
  </HeadingPairs>
  <TitlesOfParts>
    <vt:vector size="46" baseType="lpstr">
      <vt:lpstr>2_Mone Basic template</vt:lpstr>
      <vt:lpstr>3_Mone Basic template</vt:lpstr>
      <vt:lpstr>1_Capgemini Master 2021</vt:lpstr>
      <vt:lpstr>Mone-G Onboarding  Phase 01: Pilot</vt:lpstr>
      <vt:lpstr>Purpose and Contents</vt:lpstr>
      <vt:lpstr>Introduction</vt:lpstr>
      <vt:lpstr>What’s Mone-G?</vt:lpstr>
      <vt:lpstr>What’s Mone-M/G/J?</vt:lpstr>
      <vt:lpstr>MCG transformation journey and potential value</vt:lpstr>
      <vt:lpstr>Goal of Mone-G : Basic Transformation</vt:lpstr>
      <vt:lpstr>Scope of Mone-G</vt:lpstr>
      <vt:lpstr>Scope of Mone-G – SAP Modules</vt:lpstr>
      <vt:lpstr>Project Timeline</vt:lpstr>
      <vt:lpstr>Schedule</vt:lpstr>
      <vt:lpstr>Overall Project Plan</vt:lpstr>
      <vt:lpstr>High level plan – Pilot phase</vt:lpstr>
      <vt:lpstr>Organization Structure</vt:lpstr>
      <vt:lpstr>Organization Structure - Global</vt:lpstr>
      <vt:lpstr>Organization Structure - Global</vt:lpstr>
      <vt:lpstr>Mone-G Regional Organizational Structure - US</vt:lpstr>
      <vt:lpstr>Mone-G Regional Organizational Structure - China</vt:lpstr>
      <vt:lpstr>Mone-G Regional Organizational Structure - Germany</vt:lpstr>
      <vt:lpstr>Mone-G Regional Organizational Structure - UK</vt:lpstr>
      <vt:lpstr>Access related to Mone-G</vt:lpstr>
      <vt:lpstr>Distribution lists</vt:lpstr>
      <vt:lpstr>Active Distribution lists - Global</vt:lpstr>
      <vt:lpstr>Active Distribution lists - Local</vt:lpstr>
      <vt:lpstr>Access (1/2)</vt:lpstr>
      <vt:lpstr>Access (2/2)</vt:lpstr>
      <vt:lpstr>Initial set up for SAP APPSTREAM</vt:lpstr>
      <vt:lpstr>Steps to download file from AppStream into local drive</vt:lpstr>
      <vt:lpstr>Client Details</vt:lpstr>
      <vt:lpstr>Work Culture</vt:lpstr>
      <vt:lpstr>Business Card Exchange</vt:lpstr>
      <vt:lpstr>Seat Of Honour</vt:lpstr>
      <vt:lpstr>Command And Order In Service Agreement</vt:lpstr>
      <vt:lpstr>Useful Links</vt:lpstr>
      <vt:lpstr>Useful Links (1/3)</vt:lpstr>
      <vt:lpstr>Useful Links (2/3)</vt:lpstr>
      <vt:lpstr>Useful Links (3/3)</vt:lpstr>
      <vt:lpstr>Compliance </vt:lpstr>
      <vt:lpstr>Time Sheets – Japan Resources</vt:lpstr>
      <vt:lpstr>Time Sheets – India Resources</vt:lpstr>
      <vt:lpstr>Timesheets – Others </vt:lpstr>
      <vt:lpstr>Availability Tracker</vt:lpstr>
      <vt:lpstr>Non-Disclosure: Key Poi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Response - MCC Over sea group companies' S/4 Project</dc:title>
  <dc:creator/>
  <cp:lastModifiedBy/>
  <cp:revision>301</cp:revision>
  <dcterms:created xsi:type="dcterms:W3CDTF">2021-12-06T08:20:59Z</dcterms:created>
  <dcterms:modified xsi:type="dcterms:W3CDTF">2023-07-28T04: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D81F64C862234AB5F69C9A64B24884</vt:lpwstr>
  </property>
  <property fmtid="{D5CDD505-2E9C-101B-9397-08002B2CF9AE}" pid="3" name="MediaServiceImageTags">
    <vt:lpwstr/>
  </property>
</Properties>
</file>